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handoutMasterIdLst>
    <p:handoutMasterId r:id="rId24"/>
  </p:handoutMasterIdLst>
  <p:sldIdLst>
    <p:sldId id="272" r:id="rId2"/>
    <p:sldId id="273" r:id="rId3"/>
    <p:sldId id="274" r:id="rId4"/>
    <p:sldId id="281" r:id="rId5"/>
    <p:sldId id="310" r:id="rId6"/>
    <p:sldId id="275" r:id="rId7"/>
    <p:sldId id="285" r:id="rId8"/>
    <p:sldId id="289" r:id="rId9"/>
    <p:sldId id="322" r:id="rId10"/>
    <p:sldId id="319" r:id="rId11"/>
    <p:sldId id="317" r:id="rId12"/>
    <p:sldId id="324" r:id="rId13"/>
    <p:sldId id="325" r:id="rId14"/>
    <p:sldId id="330" r:id="rId15"/>
    <p:sldId id="276" r:id="rId16"/>
    <p:sldId id="303" r:id="rId17"/>
    <p:sldId id="329" r:id="rId18"/>
    <p:sldId id="328" r:id="rId19"/>
    <p:sldId id="327" r:id="rId20"/>
    <p:sldId id="308" r:id="rId21"/>
    <p:sldId id="323" r:id="rId22"/>
  </p:sldIdLst>
  <p:sldSz cx="9144000" cy="5143500" type="screen16x9"/>
  <p:notesSz cx="6805613" cy="9939338"/>
  <p:custDataLst>
    <p:tags r:id="rId25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宋体" pitchFamily="2" charset="-122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宋体" pitchFamily="2" charset="-122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宋体" pitchFamily="2" charset="-122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宋体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CC"/>
    <a:srgbClr val="00FFFF"/>
    <a:srgbClr val="CC99FF"/>
    <a:srgbClr val="FF0000"/>
    <a:srgbClr val="FBFBFB"/>
    <a:srgbClr val="FFFFFF"/>
    <a:srgbClr val="F5F5F5"/>
    <a:srgbClr val="ECECE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47" autoAdjust="0"/>
    <p:restoredTop sz="97588" autoAdjust="0"/>
  </p:normalViewPr>
  <p:slideViewPr>
    <p:cSldViewPr snapToGrid="0">
      <p:cViewPr>
        <p:scale>
          <a:sx n="80" d="100"/>
          <a:sy n="80" d="100"/>
        </p:scale>
        <p:origin x="-2178" y="-66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530"/>
    </p:cViewPr>
  </p:sorterViewPr>
  <p:notesViewPr>
    <p:cSldViewPr snapToGrid="0">
      <p:cViewPr>
        <p:scale>
          <a:sx n="90" d="100"/>
          <a:sy n="90" d="100"/>
        </p:scale>
        <p:origin x="-2130" y="360"/>
      </p:cViewPr>
      <p:guideLst>
        <p:guide orient="horz" pos="3131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7ED42FAE-BF0E-4B94-B7A3-3E0AC9F94B87}" type="datetimeFigureOut">
              <a:rPr lang="zh-CN" altLang="en-US"/>
              <a:pPr>
                <a:defRPr/>
              </a:pPr>
              <a:t>2019/5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E3B84FDF-2500-40F6-9D59-84FFB4175345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0573310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3942DEFD-4237-460D-8AF0-529094E91E77}" type="datetimeFigureOut">
              <a:rPr lang="zh-CN" altLang="en-US"/>
              <a:pPr>
                <a:defRPr/>
              </a:pPr>
              <a:t>2019/5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3537" cy="4471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E0C6656B-E1F9-412D-B1EF-99AC6FADC231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69197239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5408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50888" indent="-288925" defTabSz="95408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57288" indent="-230188" defTabSz="95408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19250" indent="-230188" defTabSz="95408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82800" indent="-230188" defTabSz="95408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40000" indent="-230188" defTabSz="9540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97200" indent="-230188" defTabSz="9540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54400" indent="-230188" defTabSz="9540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911600" indent="-230188" defTabSz="9540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fld id="{D3DFA872-7D5A-4CFE-9BE1-1A7BE29E3F1B}" type="slidenum">
              <a:rPr lang="en-GB" altLang="zh-CN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1</a:t>
            </a:fld>
            <a:endParaRPr lang="en-GB" altLang="zh-CN" smtClean="0">
              <a:latin typeface="Arial" charset="0"/>
            </a:endParaRPr>
          </a:p>
        </p:txBody>
      </p:sp>
      <p:sp>
        <p:nvSpPr>
          <p:cNvPr id="39939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5308600"/>
            <a:ext cx="6383337" cy="409257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510" tIns="45257" rIns="90510" bIns="45257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zh-CN" smtClean="0"/>
          </a:p>
        </p:txBody>
      </p:sp>
      <p:sp>
        <p:nvSpPr>
          <p:cNvPr id="39940" name="Rectangle 3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108075" y="0"/>
            <a:ext cx="9021763" cy="50752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3050" cy="37258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4198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fld id="{A4B0A2E5-A8EC-4588-BEA6-BD76863E1F3E}" type="slidenum">
              <a:rPr lang="zh-CN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4</a:t>
            </a:fld>
            <a:endParaRPr lang="zh-CN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3050" cy="37258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  <p:sp>
        <p:nvSpPr>
          <p:cNvPr id="4198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fld id="{A4B0A2E5-A8EC-4588-BEA6-BD76863E1F3E}" type="slidenum">
              <a:rPr lang="zh-CN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5</a:t>
            </a:fld>
            <a:endParaRPr lang="zh-CN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3050" cy="37258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5222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fld id="{0F1CC763-7B68-4307-85EC-E39F59A06A7D}" type="slidenum">
              <a:rPr lang="zh-CN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16</a:t>
            </a:fld>
            <a:endParaRPr lang="zh-CN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3050" cy="37258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5222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fld id="{0F1CC763-7B68-4307-85EC-E39F59A06A7D}" type="slidenum">
              <a:rPr lang="zh-CN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17</a:t>
            </a:fld>
            <a:endParaRPr lang="zh-CN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3050" cy="37258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5222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fld id="{0F1CC763-7B68-4307-85EC-E39F59A06A7D}" type="slidenum">
              <a:rPr lang="zh-CN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18</a:t>
            </a:fld>
            <a:endParaRPr lang="zh-CN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3050" cy="37258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5222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fld id="{0F1CC763-7B68-4307-85EC-E39F59A06A7D}" type="slidenum">
              <a:rPr lang="zh-CN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19</a:t>
            </a:fld>
            <a:endParaRPr lang="zh-CN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Himmel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24162"/>
            <a:ext cx="9144000" cy="158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schatt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24162"/>
            <a:ext cx="9144000" cy="90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1" descr="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60976" y="4548187"/>
            <a:ext cx="3667125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520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727075" y="945356"/>
            <a:ext cx="6757988" cy="85725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40" rIns="91440" anchor="b"/>
          <a:lstStyle>
            <a:lvl1pPr>
              <a:defRPr sz="2800"/>
            </a:lvl1pPr>
          </a:lstStyle>
          <a:p>
            <a:pPr lvl="0"/>
            <a:r>
              <a:rPr lang="en-US" altLang="zh-CN" noProof="0" smtClean="0"/>
              <a:t>Click to edit Master title style</a:t>
            </a:r>
            <a:endParaRPr lang="de-DE" altLang="zh-CN" noProof="0" smtClean="0"/>
          </a:p>
        </p:txBody>
      </p:sp>
      <p:sp>
        <p:nvSpPr>
          <p:cNvPr id="10752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7075" y="1928813"/>
            <a:ext cx="6764338" cy="579835"/>
          </a:xfrm>
          <a:prstGeom prst="rect">
            <a:avLst/>
          </a:prstGeom>
        </p:spPr>
        <p:txBody>
          <a:bodyPr lIns="91440" rIns="91440"/>
          <a:lstStyle>
            <a:lvl1pPr marL="0" indent="0">
              <a:buFont typeface="Wingdings" pitchFamily="2" charset="2"/>
              <a:buNone/>
              <a:defRPr sz="2200" b="1"/>
            </a:lvl1pPr>
          </a:lstStyle>
          <a:p>
            <a:pPr lvl="0"/>
            <a:r>
              <a:rPr lang="en-US" altLang="zh-CN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6173842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8747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36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681541"/>
            <a:ext cx="8640960" cy="39130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4214649088"/>
      </p:ext>
    </p:extLst>
  </p:cSld>
  <p:clrMapOvr>
    <a:masterClrMapping/>
  </p:clrMapOvr>
  <p:transition advClick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3568" y="2139703"/>
            <a:ext cx="7772400" cy="918101"/>
          </a:xfrm>
          <a:prstGeom prst="rect">
            <a:avLst/>
          </a:prstGeom>
        </p:spPr>
        <p:txBody>
          <a:bodyPr anchor="t"/>
          <a:lstStyle>
            <a:lvl1pPr algn="ctr">
              <a:defRPr sz="48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83568" y="1221601"/>
            <a:ext cx="7772400" cy="42306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文本占位符 2"/>
          <p:cNvSpPr>
            <a:spLocks noGrp="1"/>
          </p:cNvSpPr>
          <p:nvPr>
            <p:ph type="body" idx="10"/>
          </p:nvPr>
        </p:nvSpPr>
        <p:spPr>
          <a:xfrm>
            <a:off x="683568" y="3435847"/>
            <a:ext cx="7772400" cy="42306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xmlns="" val="744142667"/>
      </p:ext>
    </p:extLst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735547"/>
            <a:ext cx="4038600" cy="385907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80507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457200" y="87474"/>
            <a:ext cx="8229600" cy="432048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803580598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87474"/>
            <a:ext cx="8229600" cy="432048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1709149924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917330529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9" Type="http://schemas.openxmlformats.org/officeDocument/2006/relationships/tags" Target="../tags/tag3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42" Type="http://schemas.openxmlformats.org/officeDocument/2006/relationships/tags" Target="../tags/tag35.xml"/><Relationship Id="rId47" Type="http://schemas.openxmlformats.org/officeDocument/2006/relationships/tags" Target="../tags/tag40.xml"/><Relationship Id="rId50" Type="http://schemas.openxmlformats.org/officeDocument/2006/relationships/image" Target="../media/image1.png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38" Type="http://schemas.openxmlformats.org/officeDocument/2006/relationships/tags" Target="../tags/tag31.xml"/><Relationship Id="rId46" Type="http://schemas.openxmlformats.org/officeDocument/2006/relationships/tags" Target="../tags/tag3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41" Type="http://schemas.openxmlformats.org/officeDocument/2006/relationships/tags" Target="../tags/tag3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37" Type="http://schemas.openxmlformats.org/officeDocument/2006/relationships/tags" Target="../tags/tag30.xml"/><Relationship Id="rId40" Type="http://schemas.openxmlformats.org/officeDocument/2006/relationships/tags" Target="../tags/tag33.xml"/><Relationship Id="rId45" Type="http://schemas.openxmlformats.org/officeDocument/2006/relationships/tags" Target="../tags/tag3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tags" Target="../tags/tag29.xml"/><Relationship Id="rId49" Type="http://schemas.openxmlformats.org/officeDocument/2006/relationships/oleObject" Target="../embeddings/oleObject1.bin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4" Type="http://schemas.openxmlformats.org/officeDocument/2006/relationships/tags" Target="../tags/tag37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tags" Target="../tags/tag28.xml"/><Relationship Id="rId43" Type="http://schemas.openxmlformats.org/officeDocument/2006/relationships/tags" Target="../tags/tag36.xml"/><Relationship Id="rId48" Type="http://schemas.openxmlformats.org/officeDocument/2006/relationships/tags" Target="../tags/tag41.xml"/><Relationship Id="rId8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Large Footnot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4775" y="3999757"/>
            <a:ext cx="880110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85788" indent="-585788" defTabSz="912813" eaLnBrk="0" hangingPunct="0">
              <a:tabLst>
                <a:tab pos="544513" algn="r"/>
              </a:tabLst>
              <a:defRPr sz="2000" b="1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912813" eaLnBrk="0" hangingPunct="0">
              <a:tabLst>
                <a:tab pos="544513" algn="r"/>
              </a:tabLst>
              <a:defRPr sz="2000" b="1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912813" eaLnBrk="0" hangingPunct="0">
              <a:tabLst>
                <a:tab pos="544513" algn="r"/>
              </a:tabLst>
              <a:defRPr sz="2000" b="1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912813" eaLnBrk="0" hangingPunct="0">
              <a:tabLst>
                <a:tab pos="544513" algn="r"/>
              </a:tabLst>
              <a:defRPr sz="2000" b="1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912813" eaLnBrk="0" hangingPunct="0">
              <a:tabLst>
                <a:tab pos="544513" algn="r"/>
              </a:tabLst>
              <a:defRPr sz="2000" b="1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defTabSz="91281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tabLst>
                <a:tab pos="544513" algn="r"/>
              </a:tabLst>
              <a:defRPr sz="2000" b="1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defTabSz="91281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tabLst>
                <a:tab pos="544513" algn="r"/>
              </a:tabLst>
              <a:defRPr sz="2000" b="1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defTabSz="91281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tabLst>
                <a:tab pos="544513" algn="r"/>
              </a:tabLst>
              <a:defRPr sz="2000" b="1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defTabSz="91281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tabLst>
                <a:tab pos="544513" algn="r"/>
              </a:tabLst>
              <a:defRPr sz="2000" b="1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defRPr/>
            </a:pPr>
            <a:r>
              <a:rPr lang="de-DE" altLang="zh-CN" sz="900" b="0" smtClean="0">
                <a:solidFill>
                  <a:srgbClr val="000000"/>
                </a:solidFill>
              </a:rPr>
              <a:t>	1	Footnote</a:t>
            </a:r>
          </a:p>
          <a:p>
            <a:pPr eaLnBrk="1" hangingPunct="1">
              <a:defRPr/>
            </a:pPr>
            <a:r>
              <a:rPr lang="de-DE" altLang="zh-CN" sz="900" b="0" smtClean="0">
                <a:solidFill>
                  <a:srgbClr val="000000"/>
                </a:solidFill>
              </a:rPr>
              <a:t>	2	Footnote</a:t>
            </a:r>
          </a:p>
          <a:p>
            <a:pPr eaLnBrk="1" hangingPunct="1">
              <a:defRPr/>
            </a:pPr>
            <a:r>
              <a:rPr lang="de-DE" altLang="zh-CN" sz="900" b="0" smtClean="0">
                <a:solidFill>
                  <a:srgbClr val="000000"/>
                </a:solidFill>
              </a:rPr>
              <a:t>	3	Footnote</a:t>
            </a:r>
          </a:p>
          <a:p>
            <a:pPr eaLnBrk="1" hangingPunct="1">
              <a:defRPr/>
            </a:pPr>
            <a:r>
              <a:rPr lang="de-DE" altLang="zh-CN" sz="900" b="0" smtClean="0">
                <a:solidFill>
                  <a:srgbClr val="000000"/>
                </a:solidFill>
              </a:rPr>
              <a:t>	4	Footnote</a:t>
            </a:r>
          </a:p>
          <a:p>
            <a:pPr eaLnBrk="1" hangingPunct="1">
              <a:defRPr/>
            </a:pPr>
            <a:r>
              <a:rPr lang="de-DE" altLang="zh-CN" sz="900" b="0" smtClean="0">
                <a:solidFill>
                  <a:srgbClr val="000000"/>
                </a:solidFill>
              </a:rPr>
              <a:t>	5	Footnote</a:t>
            </a:r>
          </a:p>
        </p:txBody>
      </p:sp>
      <p:sp>
        <p:nvSpPr>
          <p:cNvPr id="1027" name="McK Exhibit Title Numb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69863" y="286941"/>
            <a:ext cx="330200" cy="24765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93266" tIns="46633" rIns="93266" bIns="46633" anchor="ctr"/>
          <a:lstStyle>
            <a:lvl1pPr defTabSz="933450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933450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933450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933450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933450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defRPr/>
            </a:pPr>
            <a:r>
              <a:rPr lang="de-DE" altLang="zh-CN" sz="2000" b="1" smtClean="0">
                <a:solidFill>
                  <a:srgbClr val="FFFFFF"/>
                </a:solidFill>
              </a:rPr>
              <a:t>1</a:t>
            </a:r>
          </a:p>
        </p:txBody>
      </p:sp>
      <p:grpSp>
        <p:nvGrpSpPr>
          <p:cNvPr id="1028" name="McK Sticker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298037" y="633413"/>
            <a:ext cx="666579" cy="184124"/>
            <a:chOff x="5093" y="185"/>
            <a:chExt cx="411" cy="152"/>
          </a:xfrm>
        </p:grpSpPr>
        <p:sp>
          <p:nvSpPr>
            <p:cNvPr id="1084" name="AutoShape 6" hidden="1"/>
            <p:cNvSpPr>
              <a:spLocks noChangeArrowheads="1"/>
            </p:cNvSpPr>
            <p:nvPr/>
          </p:nvSpPr>
          <p:spPr bwMode="auto">
            <a:xfrm>
              <a:off x="5093" y="185"/>
              <a:ext cx="411" cy="15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3345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93345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93345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93345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93345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algn="r" eaLnBrk="1" hangingPunct="1"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STICKER</a:t>
              </a:r>
            </a:p>
          </p:txBody>
        </p:sp>
        <p:cxnSp>
          <p:nvCxnSpPr>
            <p:cNvPr id="1085" name="AutoShape 7" hidden="1"/>
            <p:cNvCxnSpPr>
              <a:cxnSpLocks noChangeShapeType="1"/>
              <a:stCxn id="1084" idx="2"/>
              <a:endCxn id="1084" idx="0"/>
            </p:cNvCxnSpPr>
            <p:nvPr/>
          </p:nvCxnSpPr>
          <p:spPr bwMode="auto">
            <a:xfrm>
              <a:off x="5093" y="185"/>
              <a:ext cx="411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086" name="AutoShape 8" hidden="1"/>
            <p:cNvCxnSpPr>
              <a:cxnSpLocks noChangeShapeType="1"/>
              <a:stCxn id="1084" idx="4"/>
              <a:endCxn id="1084" idx="6"/>
            </p:cNvCxnSpPr>
            <p:nvPr/>
          </p:nvCxnSpPr>
          <p:spPr bwMode="auto">
            <a:xfrm>
              <a:off x="5093" y="337"/>
              <a:ext cx="411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1029" name="McK Legend Boxe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8159751" y="615554"/>
            <a:ext cx="812896" cy="753433"/>
            <a:chOff x="5005" y="171"/>
            <a:chExt cx="502" cy="620"/>
          </a:xfrm>
        </p:grpSpPr>
        <p:sp>
          <p:nvSpPr>
            <p:cNvPr id="1076" name="LegendRectangle1" hidden="1"/>
            <p:cNvSpPr>
              <a:spLocks noChangeArrowheads="1"/>
            </p:cNvSpPr>
            <p:nvPr/>
          </p:nvSpPr>
          <p:spPr bwMode="auto">
            <a:xfrm>
              <a:off x="5005" y="182"/>
              <a:ext cx="135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95000"/>
                </a:lnSpc>
                <a:defRPr/>
              </a:pPr>
              <a:endParaRPr lang="zh-CN" altLang="en-US" sz="2000" b="1" smtClean="0">
                <a:solidFill>
                  <a:srgbClr val="000000"/>
                </a:solidFill>
              </a:endParaRPr>
            </a:p>
          </p:txBody>
        </p:sp>
        <p:sp>
          <p:nvSpPr>
            <p:cNvPr id="1077" name="LegendRectangle2" hidden="1"/>
            <p:cNvSpPr>
              <a:spLocks noChangeArrowheads="1"/>
            </p:cNvSpPr>
            <p:nvPr/>
          </p:nvSpPr>
          <p:spPr bwMode="auto">
            <a:xfrm>
              <a:off x="5005" y="337"/>
              <a:ext cx="135" cy="11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95000"/>
                </a:lnSpc>
                <a:defRPr/>
              </a:pPr>
              <a:endParaRPr lang="zh-CN" altLang="en-US" sz="2000" b="1" smtClean="0">
                <a:solidFill>
                  <a:srgbClr val="000000"/>
                </a:solidFill>
              </a:endParaRPr>
            </a:p>
          </p:txBody>
        </p:sp>
        <p:sp>
          <p:nvSpPr>
            <p:cNvPr id="1078" name="LegendRectangle3" hidden="1"/>
            <p:cNvSpPr>
              <a:spLocks noChangeArrowheads="1"/>
            </p:cNvSpPr>
            <p:nvPr/>
          </p:nvSpPr>
          <p:spPr bwMode="auto">
            <a:xfrm>
              <a:off x="5005" y="493"/>
              <a:ext cx="135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95000"/>
                </a:lnSpc>
                <a:defRPr/>
              </a:pPr>
              <a:endParaRPr lang="zh-CN" altLang="en-US" sz="2000" b="1" smtClean="0">
                <a:solidFill>
                  <a:srgbClr val="000000"/>
                </a:solidFill>
              </a:endParaRPr>
            </a:p>
          </p:txBody>
        </p:sp>
        <p:sp>
          <p:nvSpPr>
            <p:cNvPr id="1079" name="LegendRectangle4" hidden="1"/>
            <p:cNvSpPr>
              <a:spLocks noChangeArrowheads="1"/>
            </p:cNvSpPr>
            <p:nvPr/>
          </p:nvSpPr>
          <p:spPr bwMode="auto">
            <a:xfrm>
              <a:off x="5005" y="649"/>
              <a:ext cx="135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95000"/>
                </a:lnSpc>
                <a:defRPr/>
              </a:pPr>
              <a:endParaRPr lang="zh-CN" altLang="en-US" sz="2000" b="1" smtClean="0">
                <a:solidFill>
                  <a:srgbClr val="000000"/>
                </a:solidFill>
              </a:endParaRPr>
            </a:p>
          </p:txBody>
        </p:sp>
        <p:sp>
          <p:nvSpPr>
            <p:cNvPr id="1080" name="Rectangle 14" hidden="1"/>
            <p:cNvSpPr>
              <a:spLocks noChangeArrowheads="1"/>
            </p:cNvSpPr>
            <p:nvPr/>
          </p:nvSpPr>
          <p:spPr bwMode="gray">
            <a:xfrm>
              <a:off x="5192" y="483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81" name="Rectangle 15" hidden="1"/>
            <p:cNvSpPr>
              <a:spLocks noChangeArrowheads="1"/>
            </p:cNvSpPr>
            <p:nvPr/>
          </p:nvSpPr>
          <p:spPr bwMode="gray">
            <a:xfrm>
              <a:off x="5192" y="639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82" name="Rectangle 16" hidden="1"/>
            <p:cNvSpPr>
              <a:spLocks noChangeArrowheads="1"/>
            </p:cNvSpPr>
            <p:nvPr/>
          </p:nvSpPr>
          <p:spPr bwMode="gray">
            <a:xfrm>
              <a:off x="5192" y="171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83" name="Rectangle 17" hidden="1"/>
            <p:cNvSpPr>
              <a:spLocks noChangeArrowheads="1"/>
            </p:cNvSpPr>
            <p:nvPr/>
          </p:nvSpPr>
          <p:spPr bwMode="gray">
            <a:xfrm>
              <a:off x="5192" y="32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30" name="McK Legend Line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8053388" y="615554"/>
            <a:ext cx="917676" cy="753433"/>
            <a:chOff x="4940" y="171"/>
            <a:chExt cx="566" cy="620"/>
          </a:xfrm>
        </p:grpSpPr>
        <p:sp>
          <p:nvSpPr>
            <p:cNvPr id="1068" name="Line 19" hidden="1"/>
            <p:cNvSpPr>
              <a:spLocks noChangeShapeType="1"/>
            </p:cNvSpPr>
            <p:nvPr/>
          </p:nvSpPr>
          <p:spPr bwMode="gray">
            <a:xfrm>
              <a:off x="4940" y="229"/>
              <a:ext cx="20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69" name="Line 20" hidden="1"/>
            <p:cNvSpPr>
              <a:spLocks noChangeShapeType="1"/>
            </p:cNvSpPr>
            <p:nvPr/>
          </p:nvSpPr>
          <p:spPr bwMode="gray">
            <a:xfrm>
              <a:off x="4940" y="385"/>
              <a:ext cx="20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70" name="Line 21" hidden="1"/>
            <p:cNvSpPr>
              <a:spLocks noChangeShapeType="1"/>
            </p:cNvSpPr>
            <p:nvPr/>
          </p:nvSpPr>
          <p:spPr bwMode="gray">
            <a:xfrm>
              <a:off x="4940" y="541"/>
              <a:ext cx="2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71" name="Line 22" hidden="1"/>
            <p:cNvSpPr>
              <a:spLocks noChangeShapeType="1"/>
            </p:cNvSpPr>
            <p:nvPr/>
          </p:nvSpPr>
          <p:spPr bwMode="gray">
            <a:xfrm>
              <a:off x="4940" y="698"/>
              <a:ext cx="2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72" name="Rectangle 23" hidden="1"/>
            <p:cNvSpPr>
              <a:spLocks noChangeArrowheads="1"/>
            </p:cNvSpPr>
            <p:nvPr/>
          </p:nvSpPr>
          <p:spPr bwMode="gray">
            <a:xfrm>
              <a:off x="5192" y="483"/>
              <a:ext cx="31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3" name="Rectangle 24" hidden="1"/>
            <p:cNvSpPr>
              <a:spLocks noChangeArrowheads="1"/>
            </p:cNvSpPr>
            <p:nvPr/>
          </p:nvSpPr>
          <p:spPr bwMode="gray">
            <a:xfrm>
              <a:off x="5192" y="639"/>
              <a:ext cx="31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4" name="Rectangle 25" hidden="1"/>
            <p:cNvSpPr>
              <a:spLocks noChangeArrowheads="1"/>
            </p:cNvSpPr>
            <p:nvPr/>
          </p:nvSpPr>
          <p:spPr bwMode="gray">
            <a:xfrm>
              <a:off x="5192" y="171"/>
              <a:ext cx="31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5" name="Rectangle 26" hidden="1"/>
            <p:cNvSpPr>
              <a:spLocks noChangeArrowheads="1"/>
            </p:cNvSpPr>
            <p:nvPr/>
          </p:nvSpPr>
          <p:spPr bwMode="gray">
            <a:xfrm>
              <a:off x="5192" y="327"/>
              <a:ext cx="31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31" name="McK Legend Moon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8201022" y="615553"/>
            <a:ext cx="770038" cy="943868"/>
            <a:chOff x="5031" y="171"/>
            <a:chExt cx="475" cy="777"/>
          </a:xfrm>
        </p:grpSpPr>
        <p:grpSp>
          <p:nvGrpSpPr>
            <p:cNvPr id="1048" name="Group 28" hidden="1"/>
            <p:cNvGrpSpPr>
              <a:grpSpLocks noChangeAspect="1"/>
            </p:cNvGrpSpPr>
            <p:nvPr userDrawn="1">
              <p:custDataLst>
                <p:tags r:id="rId29"/>
              </p:custDataLst>
            </p:nvPr>
          </p:nvGrpSpPr>
          <p:grpSpPr bwMode="auto">
            <a:xfrm>
              <a:off x="5031" y="797"/>
              <a:ext cx="112" cy="114"/>
              <a:chOff x="1058" y="1963"/>
              <a:chExt cx="112" cy="114"/>
            </a:xfrm>
          </p:grpSpPr>
          <p:sp>
            <p:nvSpPr>
              <p:cNvPr id="1066" name="Oval 29" hidden="1"/>
              <p:cNvSpPr>
                <a:spLocks noChangeAspect="1" noChangeArrowheads="1"/>
              </p:cNvSpPr>
              <p:nvPr userDrawn="1">
                <p:custDataLst>
                  <p:tags r:id="rId47"/>
                </p:custDataLst>
              </p:nvPr>
            </p:nvSpPr>
            <p:spPr bwMode="gray">
              <a:xfrm>
                <a:off x="1058" y="1963"/>
                <a:ext cx="111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9pPr>
              </a:lstStyle>
              <a:p>
                <a:pPr eaLnBrk="1" hangingPunct="1">
                  <a:lnSpc>
                    <a:spcPct val="95000"/>
                  </a:lnSpc>
                  <a:defRPr/>
                </a:pPr>
                <a:endParaRPr lang="zh-CN" altLang="en-US" sz="2000" b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7" name="Oval 30" hidden="1"/>
              <p:cNvSpPr>
                <a:spLocks noChangeAspect="1" noChangeArrowheads="1"/>
              </p:cNvSpPr>
              <p:nvPr userDrawn="1">
                <p:custDataLst>
                  <p:tags r:id="rId48"/>
                </p:custDataLst>
              </p:nvPr>
            </p:nvSpPr>
            <p:spPr bwMode="gray">
              <a:xfrm>
                <a:off x="1058" y="1963"/>
                <a:ext cx="112" cy="114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9pPr>
              </a:lstStyle>
              <a:p>
                <a:pPr eaLnBrk="1" hangingPunct="1">
                  <a:lnSpc>
                    <a:spcPct val="95000"/>
                  </a:lnSpc>
                  <a:defRPr/>
                </a:pPr>
                <a:endParaRPr lang="zh-CN" altLang="en-US" sz="2000" b="1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9" name="Group 31" hidden="1"/>
            <p:cNvGrpSpPr>
              <a:grpSpLocks noChangeAspect="1"/>
            </p:cNvGrpSpPr>
            <p:nvPr userDrawn="1">
              <p:custDataLst>
                <p:tags r:id="rId30"/>
              </p:custDataLst>
            </p:nvPr>
          </p:nvGrpSpPr>
          <p:grpSpPr bwMode="auto">
            <a:xfrm>
              <a:off x="5031" y="640"/>
              <a:ext cx="112" cy="114"/>
              <a:chOff x="1058" y="2113"/>
              <a:chExt cx="112" cy="114"/>
            </a:xfrm>
          </p:grpSpPr>
          <p:sp>
            <p:nvSpPr>
              <p:cNvPr id="1064" name="Oval 32" hidden="1"/>
              <p:cNvSpPr>
                <a:spLocks noChangeAspect="1" noChangeArrowheads="1"/>
              </p:cNvSpPr>
              <p:nvPr userDrawn="1">
                <p:custDataLst>
                  <p:tags r:id="rId45"/>
                </p:custDataLst>
              </p:nvPr>
            </p:nvSpPr>
            <p:spPr bwMode="gray">
              <a:xfrm>
                <a:off x="1058" y="2113"/>
                <a:ext cx="111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9pPr>
              </a:lstStyle>
              <a:p>
                <a:pPr eaLnBrk="1" hangingPunct="1">
                  <a:lnSpc>
                    <a:spcPct val="95000"/>
                  </a:lnSpc>
                  <a:defRPr/>
                </a:pPr>
                <a:endParaRPr lang="zh-CN" altLang="en-US" sz="2000" b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" name="Arc 33" hidden="1"/>
              <p:cNvSpPr>
                <a:spLocks noChangeAspect="1"/>
              </p:cNvSpPr>
              <p:nvPr userDrawn="1">
                <p:custDataLst>
                  <p:tags r:id="rId46"/>
                </p:custDataLst>
              </p:nvPr>
            </p:nvSpPr>
            <p:spPr bwMode="gray">
              <a:xfrm>
                <a:off x="1058" y="2113"/>
                <a:ext cx="112" cy="11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50" name="Group 34" hidden="1"/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5031" y="484"/>
              <a:ext cx="112" cy="114"/>
              <a:chOff x="1058" y="2275"/>
              <a:chExt cx="112" cy="114"/>
            </a:xfrm>
          </p:grpSpPr>
          <p:sp>
            <p:nvSpPr>
              <p:cNvPr id="1062" name="Oval 35" hidden="1"/>
              <p:cNvSpPr>
                <a:spLocks noChangeAspect="1" noChangeArrowheads="1"/>
              </p:cNvSpPr>
              <p:nvPr userDrawn="1">
                <p:custDataLst>
                  <p:tags r:id="rId43"/>
                </p:custDataLst>
              </p:nvPr>
            </p:nvSpPr>
            <p:spPr bwMode="gray">
              <a:xfrm>
                <a:off x="1058" y="2275"/>
                <a:ext cx="111" cy="123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9pPr>
              </a:lstStyle>
              <a:p>
                <a:pPr eaLnBrk="1" hangingPunct="1">
                  <a:lnSpc>
                    <a:spcPct val="95000"/>
                  </a:lnSpc>
                  <a:defRPr/>
                </a:pPr>
                <a:endParaRPr lang="zh-CN" altLang="en-US" sz="2000" b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3" name="Arc 36" hidden="1"/>
              <p:cNvSpPr>
                <a:spLocks noChangeAspect="1"/>
              </p:cNvSpPr>
              <p:nvPr userDrawn="1">
                <p:custDataLst>
                  <p:tags r:id="rId44"/>
                </p:custDataLst>
              </p:nvPr>
            </p:nvSpPr>
            <p:spPr bwMode="gray">
              <a:xfrm>
                <a:off x="1114" y="2275"/>
                <a:ext cx="56" cy="115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51" name="Group 37" hidden="1"/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5031" y="330"/>
              <a:ext cx="112" cy="112"/>
              <a:chOff x="1058" y="2431"/>
              <a:chExt cx="112" cy="112"/>
            </a:xfrm>
          </p:grpSpPr>
          <p:sp>
            <p:nvSpPr>
              <p:cNvPr id="1060" name="Oval 38" hidden="1"/>
              <p:cNvSpPr>
                <a:spLocks noChangeAspect="1" noChangeArrowheads="1"/>
              </p:cNvSpPr>
              <p:nvPr userDrawn="1">
                <p:custDataLst>
                  <p:tags r:id="rId41"/>
                </p:custDataLst>
              </p:nvPr>
            </p:nvSpPr>
            <p:spPr bwMode="gray">
              <a:xfrm>
                <a:off x="1058" y="2431"/>
                <a:ext cx="111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9pPr>
              </a:lstStyle>
              <a:p>
                <a:pPr eaLnBrk="1" hangingPunct="1">
                  <a:lnSpc>
                    <a:spcPct val="95000"/>
                  </a:lnSpc>
                  <a:defRPr/>
                </a:pPr>
                <a:endParaRPr lang="zh-CN" altLang="en-US" sz="2000" b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1" name="Arc 39" hidden="1"/>
              <p:cNvSpPr>
                <a:spLocks noChangeAspect="1"/>
              </p:cNvSpPr>
              <p:nvPr userDrawn="1">
                <p:custDataLst>
                  <p:tags r:id="rId42"/>
                </p:custDataLst>
              </p:nvPr>
            </p:nvSpPr>
            <p:spPr bwMode="gray">
              <a:xfrm>
                <a:off x="1114" y="2431"/>
                <a:ext cx="56" cy="5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52" name="Group 40" hidden="1"/>
            <p:cNvGrpSpPr>
              <a:grpSpLocks noChangeAspect="1"/>
            </p:cNvGrpSpPr>
            <p:nvPr userDrawn="1">
              <p:custDataLst>
                <p:tags r:id="rId33"/>
              </p:custDataLst>
            </p:nvPr>
          </p:nvGrpSpPr>
          <p:grpSpPr bwMode="auto">
            <a:xfrm>
              <a:off x="5031" y="174"/>
              <a:ext cx="112" cy="114"/>
              <a:chOff x="1058" y="2617"/>
              <a:chExt cx="112" cy="114"/>
            </a:xfrm>
          </p:grpSpPr>
          <p:sp>
            <p:nvSpPr>
              <p:cNvPr id="1058" name="Oval 41" hidden="1"/>
              <p:cNvSpPr>
                <a:spLocks noChangeAspect="1" noChangeArrowheads="1"/>
              </p:cNvSpPr>
              <p:nvPr userDrawn="1">
                <p:custDataLst>
                  <p:tags r:id="rId39"/>
                </p:custDataLst>
              </p:nvPr>
            </p:nvSpPr>
            <p:spPr bwMode="gray">
              <a:xfrm>
                <a:off x="1058" y="2617"/>
                <a:ext cx="111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  <a:ea typeface="宋体" pitchFamily="2" charset="-122"/>
                  </a:defRPr>
                </a:lvl9pPr>
              </a:lstStyle>
              <a:p>
                <a:pPr eaLnBrk="1" hangingPunct="1">
                  <a:lnSpc>
                    <a:spcPct val="95000"/>
                  </a:lnSpc>
                  <a:defRPr/>
                </a:pPr>
                <a:endParaRPr lang="zh-CN" altLang="en-US" sz="2000" b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9" name="Arc 42" hidden="1"/>
              <p:cNvSpPr>
                <a:spLocks noChangeAspect="1"/>
              </p:cNvSpPr>
              <p:nvPr userDrawn="1">
                <p:custDataLst>
                  <p:tags r:id="rId40"/>
                </p:custDataLst>
              </p:nvPr>
            </p:nvSpPr>
            <p:spPr bwMode="gray">
              <a:xfrm>
                <a:off x="1058" y="2617"/>
                <a:ext cx="112" cy="11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zh-CN" altLang="en-US"/>
              </a:p>
            </p:txBody>
          </p:sp>
        </p:grpSp>
        <p:sp>
          <p:nvSpPr>
            <p:cNvPr id="1053" name="Rectangle 43" hidden="1"/>
            <p:cNvSpPr>
              <a:spLocks noChangeArrowheads="1"/>
            </p:cNvSpPr>
            <p:nvPr userDrawn="1">
              <p:custDataLst>
                <p:tags r:id="rId34"/>
              </p:custDataLst>
            </p:nvPr>
          </p:nvSpPr>
          <p:spPr bwMode="gray">
            <a:xfrm>
              <a:off x="5192" y="483"/>
              <a:ext cx="31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4" name="Rectangle 44" hidden="1"/>
            <p:cNvSpPr>
              <a:spLocks noChangeArrowheads="1"/>
            </p:cNvSpPr>
            <p:nvPr userDrawn="1">
              <p:custDataLst>
                <p:tags r:id="rId35"/>
              </p:custDataLst>
            </p:nvPr>
          </p:nvSpPr>
          <p:spPr bwMode="gray">
            <a:xfrm>
              <a:off x="5192" y="639"/>
              <a:ext cx="31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5" name="Rectangle 45" hidden="1"/>
            <p:cNvSpPr>
              <a:spLocks noChangeArrowheads="1"/>
            </p:cNvSpPr>
            <p:nvPr userDrawn="1">
              <p:custDataLst>
                <p:tags r:id="rId36"/>
              </p:custDataLst>
            </p:nvPr>
          </p:nvSpPr>
          <p:spPr bwMode="gray">
            <a:xfrm>
              <a:off x="5192" y="796"/>
              <a:ext cx="31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6" name="Rectangle 46" hidden="1"/>
            <p:cNvSpPr>
              <a:spLocks noChangeArrowheads="1"/>
            </p:cNvSpPr>
            <p:nvPr userDrawn="1">
              <p:custDataLst>
                <p:tags r:id="rId37"/>
              </p:custDataLst>
            </p:nvPr>
          </p:nvSpPr>
          <p:spPr bwMode="gray">
            <a:xfrm>
              <a:off x="5192" y="171"/>
              <a:ext cx="31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7" name="Rectangle 47" hidden="1"/>
            <p:cNvSpPr>
              <a:spLocks noChangeArrowheads="1"/>
            </p:cNvSpPr>
            <p:nvPr userDrawn="1">
              <p:custDataLst>
                <p:tags r:id="rId38"/>
              </p:custDataLst>
            </p:nvPr>
          </p:nvSpPr>
          <p:spPr bwMode="gray">
            <a:xfrm>
              <a:off x="5192" y="327"/>
              <a:ext cx="314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892175" eaLnBrk="0" hangingPunct="0"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de-DE" altLang="zh-CN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1032" name="Line 51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>
            <a:off x="0" y="573881"/>
            <a:ext cx="9144000" cy="0"/>
          </a:xfrm>
          <a:prstGeom prst="lin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grpSp>
        <p:nvGrpSpPr>
          <p:cNvPr id="1033" name="McK Slide Elements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04775" y="589360"/>
            <a:ext cx="8801100" cy="4541766"/>
            <a:chOff x="65" y="485"/>
            <a:chExt cx="5433" cy="3739"/>
          </a:xfrm>
        </p:grpSpPr>
        <p:sp>
          <p:nvSpPr>
            <p:cNvPr id="2" name="McK Stand" hidden="1"/>
            <p:cNvSpPr txBox="1">
              <a:spLocks noChangeArrowheads="1"/>
            </p:cNvSpPr>
            <p:nvPr userDrawn="1">
              <p:custDataLst>
                <p:tags r:id="rId25"/>
              </p:custDataLst>
            </p:nvPr>
          </p:nvSpPr>
          <p:spPr bwMode="auto">
            <a:xfrm>
              <a:off x="116" y="4110"/>
              <a:ext cx="1881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912813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912813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912813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912813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defRPr/>
              </a:pPr>
              <a:r>
                <a:rPr lang="de-DE" altLang="zh-CN" sz="900" b="0" smtClean="0">
                  <a:solidFill>
                    <a:srgbClr val="000000"/>
                  </a:solidFill>
                  <a:cs typeface="Arial" charset="0"/>
                </a:rPr>
                <a:t>Stand: 	TT.MM.JJ</a:t>
              </a:r>
            </a:p>
          </p:txBody>
        </p:sp>
        <p:sp>
          <p:nvSpPr>
            <p:cNvPr id="3" name="McK Ersteller" hidden="1"/>
            <p:cNvSpPr txBox="1"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>
              <a:off x="116" y="3983"/>
              <a:ext cx="1881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903288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903288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903288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903288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903288" eaLnBrk="0" hangingPunct="0"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90328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90328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90328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90328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04825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defRPr/>
              </a:pPr>
              <a:r>
                <a:rPr lang="de-DE" altLang="zh-CN" sz="900" b="0" smtClean="0">
                  <a:solidFill>
                    <a:srgbClr val="000000"/>
                  </a:solidFill>
                  <a:cs typeface="Arial" charset="0"/>
                </a:rPr>
                <a:t>Erst</a:t>
              </a:r>
              <a:r>
                <a:rPr lang="de-DE" altLang="ii-CN" sz="900" b="0" smtClean="0">
                  <a:solidFill>
                    <a:srgbClr val="000000"/>
                  </a:solidFill>
                  <a:cs typeface="Arial" charset="0"/>
                </a:rPr>
                <a:t>e</a:t>
              </a:r>
              <a:r>
                <a:rPr lang="de-DE" altLang="zh-CN" sz="900" b="0" smtClean="0">
                  <a:solidFill>
                    <a:srgbClr val="000000"/>
                  </a:solidFill>
                  <a:cs typeface="Arial" charset="0"/>
                </a:rPr>
                <a:t>ller: 	Studio F-Team</a:t>
              </a:r>
            </a:p>
          </p:txBody>
        </p:sp>
        <p:sp>
          <p:nvSpPr>
            <p:cNvPr id="4" name="McK Measure" hidden="1"/>
            <p:cNvSpPr txBox="1"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>
              <a:off x="109" y="485"/>
              <a:ext cx="5081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tabLst>
                  <a:tab pos="374650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912813" eaLnBrk="0" hangingPunct="0">
                <a:tabLst>
                  <a:tab pos="374650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912813" eaLnBrk="0" hangingPunct="0">
                <a:tabLst>
                  <a:tab pos="374650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912813" eaLnBrk="0" hangingPunct="0">
                <a:tabLst>
                  <a:tab pos="374650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912813" eaLnBrk="0" hangingPunct="0">
                <a:tabLst>
                  <a:tab pos="374650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374650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374650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374650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374650" algn="l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de-DE" altLang="zh-CN" sz="1600" b="0" smtClean="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047" name="McK Footnote" hidden="1"/>
            <p:cNvSpPr txBox="1">
              <a:spLocks noChangeArrowheads="1"/>
            </p:cNvSpPr>
            <p:nvPr userDrawn="1">
              <p:custDataLst>
                <p:tags r:id="rId28"/>
              </p:custDataLst>
            </p:nvPr>
          </p:nvSpPr>
          <p:spPr bwMode="auto">
            <a:xfrm>
              <a:off x="65" y="3777"/>
              <a:ext cx="5433" cy="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/>
            <a:lstStyle>
              <a:lvl1pPr marL="585788" indent="-585788" defTabSz="912813" eaLnBrk="0" hangingPunct="0">
                <a:tabLst>
                  <a:tab pos="544513" algn="r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defTabSz="912813" eaLnBrk="0" hangingPunct="0">
                <a:tabLst>
                  <a:tab pos="544513" algn="r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defTabSz="912813" eaLnBrk="0" hangingPunct="0">
                <a:tabLst>
                  <a:tab pos="544513" algn="r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defTabSz="912813" eaLnBrk="0" hangingPunct="0">
                <a:tabLst>
                  <a:tab pos="544513" algn="r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defTabSz="912813" eaLnBrk="0" hangingPunct="0">
                <a:tabLst>
                  <a:tab pos="544513" algn="r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defTabSz="912813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 sz="2000" b="1"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de-DE" altLang="zh-CN" sz="900" b="0" smtClean="0">
                  <a:solidFill>
                    <a:srgbClr val="000000"/>
                  </a:solidFill>
                </a:rPr>
                <a:t>	*	Footnote</a:t>
              </a:r>
            </a:p>
          </p:txBody>
        </p:sp>
      </p:grpSp>
      <p:grpSp>
        <p:nvGrpSpPr>
          <p:cNvPr id="1034" name="McK Work Area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0" y="0"/>
            <a:ext cx="9144000" cy="5143500"/>
            <a:chOff x="0" y="0"/>
            <a:chExt cx="5645" cy="4234"/>
          </a:xfrm>
        </p:grpSpPr>
        <p:sp>
          <p:nvSpPr>
            <p:cNvPr id="1038" name="Line 58" hidden="1"/>
            <p:cNvSpPr>
              <a:spLocks noChangeShapeType="1"/>
            </p:cNvSpPr>
            <p:nvPr userDrawn="1">
              <p:custDataLst>
                <p:tags r:id="rId19"/>
              </p:custDataLst>
            </p:nvPr>
          </p:nvSpPr>
          <p:spPr bwMode="auto">
            <a:xfrm>
              <a:off x="117" y="0"/>
              <a:ext cx="0" cy="4234"/>
            </a:xfrm>
            <a:prstGeom prst="line">
              <a:avLst/>
            </a:prstGeom>
            <a:noFill/>
            <a:ln w="3175">
              <a:solidFill>
                <a:srgbClr val="EF463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39" name="Line 59" hidden="1"/>
            <p:cNvSpPr>
              <a:spLocks noChangeShapeType="1"/>
            </p:cNvSpPr>
            <p:nvPr userDrawn="1">
              <p:custDataLst>
                <p:tags r:id="rId20"/>
              </p:custDataLst>
            </p:nvPr>
          </p:nvSpPr>
          <p:spPr bwMode="auto">
            <a:xfrm>
              <a:off x="0" y="284"/>
              <a:ext cx="5645" cy="0"/>
            </a:xfrm>
            <a:prstGeom prst="line">
              <a:avLst/>
            </a:prstGeom>
            <a:noFill/>
            <a:ln w="3175">
              <a:solidFill>
                <a:srgbClr val="EF463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40" name="Line 60" hidden="1"/>
            <p:cNvSpPr>
              <a:spLocks noChangeShapeType="1"/>
            </p:cNvSpPr>
            <p:nvPr userDrawn="1">
              <p:custDataLst>
                <p:tags r:id="rId21"/>
              </p:custDataLst>
            </p:nvPr>
          </p:nvSpPr>
          <p:spPr bwMode="auto">
            <a:xfrm>
              <a:off x="0" y="520"/>
              <a:ext cx="5645" cy="0"/>
            </a:xfrm>
            <a:prstGeom prst="line">
              <a:avLst/>
            </a:prstGeom>
            <a:noFill/>
            <a:ln w="3175">
              <a:solidFill>
                <a:srgbClr val="EF463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41" name="Line 61" hidden="1"/>
            <p:cNvSpPr>
              <a:spLocks noChangeShapeType="1"/>
            </p:cNvSpPr>
            <p:nvPr userDrawn="1">
              <p:custDataLst>
                <p:tags r:id="rId22"/>
              </p:custDataLst>
            </p:nvPr>
          </p:nvSpPr>
          <p:spPr bwMode="auto">
            <a:xfrm>
              <a:off x="5534" y="0"/>
              <a:ext cx="0" cy="4234"/>
            </a:xfrm>
            <a:prstGeom prst="line">
              <a:avLst/>
            </a:prstGeom>
            <a:noFill/>
            <a:ln w="3175">
              <a:solidFill>
                <a:srgbClr val="EF463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42" name="Line 62" hidden="1"/>
            <p:cNvSpPr>
              <a:spLocks noChangeShapeType="1"/>
            </p:cNvSpPr>
            <p:nvPr userDrawn="1">
              <p:custDataLst>
                <p:tags r:id="rId23"/>
              </p:custDataLst>
            </p:nvPr>
          </p:nvSpPr>
          <p:spPr bwMode="auto">
            <a:xfrm>
              <a:off x="0" y="100"/>
              <a:ext cx="5645" cy="0"/>
            </a:xfrm>
            <a:prstGeom prst="line">
              <a:avLst/>
            </a:prstGeom>
            <a:noFill/>
            <a:ln w="3175">
              <a:solidFill>
                <a:srgbClr val="EF463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43" name="Line 63" hidden="1"/>
            <p:cNvSpPr>
              <a:spLocks noChangeShapeType="1"/>
            </p:cNvSpPr>
            <p:nvPr userDrawn="1">
              <p:custDataLst>
                <p:tags r:id="rId24"/>
              </p:custDataLst>
            </p:nvPr>
          </p:nvSpPr>
          <p:spPr bwMode="auto">
            <a:xfrm>
              <a:off x="0" y="3792"/>
              <a:ext cx="5645" cy="0"/>
            </a:xfrm>
            <a:prstGeom prst="line">
              <a:avLst/>
            </a:prstGeom>
            <a:noFill/>
            <a:ln w="3175">
              <a:solidFill>
                <a:srgbClr val="EF463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aphicFrame>
        <p:nvGraphicFramePr>
          <p:cNvPr id="1035" name="Rectangle 64" hidden="1"/>
          <p:cNvGraphicFramePr>
            <a:graphicFrameLocks/>
          </p:cNvGraphicFramePr>
          <p:nvPr/>
        </p:nvGraphicFramePr>
        <p:xfrm>
          <a:off x="1" y="0"/>
          <a:ext cx="161925" cy="121444"/>
        </p:xfrm>
        <a:graphic>
          <a:graphicData uri="http://schemas.openxmlformats.org/presentationml/2006/ole">
            <p:oleObj spid="_x0000_s1131" name="think-cell Slide" r:id="rId49" imgW="0" imgH="0" progId="">
              <p:embed/>
            </p:oleObj>
          </a:graphicData>
        </a:graphic>
      </p:graphicFrame>
      <p:sp>
        <p:nvSpPr>
          <p:cNvPr id="69" name="Rectangle 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4674394"/>
            <a:ext cx="9144000" cy="34529"/>
          </a:xfrm>
          <a:prstGeom prst="rect">
            <a:avLst/>
          </a:prstGeom>
          <a:gradFill rotWithShape="0">
            <a:gsLst>
              <a:gs pos="0">
                <a:schemeClr val="folHlink"/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95000"/>
              </a:lnSpc>
              <a:spcBef>
                <a:spcPct val="20000"/>
              </a:spcBef>
              <a:defRPr/>
            </a:pPr>
            <a:endParaRPr lang="zh-CN" altLang="en-US" sz="2000" b="1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+mn-lt"/>
              <a:ea typeface="+mn-ea"/>
            </a:endParaRPr>
          </a:p>
        </p:txBody>
      </p:sp>
      <p:pic>
        <p:nvPicPr>
          <p:cNvPr id="1037" name="Picture 64" descr="1"/>
          <p:cNvPicPr>
            <a:picLocks noChangeAspect="1" noChangeArrowheads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65876" y="4754166"/>
            <a:ext cx="2701925" cy="369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85" r:id="rId2"/>
    <p:sldLayoutId id="2147483986" r:id="rId3"/>
    <p:sldLayoutId id="2147483987" r:id="rId4"/>
    <p:sldLayoutId id="2147483988" r:id="rId5"/>
    <p:sldLayoutId id="2147483989" r:id="rId6"/>
  </p:sldLayoutIdLst>
  <p:transition advClick="0"/>
  <p:timing>
    <p:tnLst>
      <p:par>
        <p:cTn id="1" dur="indefinite" restart="never" nodeType="tmRoot"/>
      </p:par>
    </p:tnLst>
  </p:timing>
  <p:txStyles>
    <p:titleStyle>
      <a:lvl1pPr algn="l" defTabSz="912813" rtl="0" eaLnBrk="0" fontAlgn="base" hangingPunct="0">
        <a:lnSpc>
          <a:spcPct val="95000"/>
        </a:lnSpc>
        <a:spcBef>
          <a:spcPct val="0"/>
        </a:spcBef>
        <a:spcAft>
          <a:spcPct val="0"/>
        </a:spcAft>
        <a:tabLst>
          <a:tab pos="368300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95000"/>
        </a:lnSpc>
        <a:spcBef>
          <a:spcPct val="0"/>
        </a:spcBef>
        <a:spcAft>
          <a:spcPct val="0"/>
        </a:spcAft>
        <a:tabLst>
          <a:tab pos="368300" algn="l"/>
        </a:tabLst>
        <a:defRPr sz="2000" b="1">
          <a:solidFill>
            <a:schemeClr val="tx1"/>
          </a:solidFill>
          <a:latin typeface="Arial" charset="0"/>
          <a:ea typeface="宋体" pitchFamily="2" charset="-122"/>
        </a:defRPr>
      </a:lvl2pPr>
      <a:lvl3pPr algn="l" defTabSz="912813" rtl="0" eaLnBrk="0" fontAlgn="base" hangingPunct="0">
        <a:lnSpc>
          <a:spcPct val="95000"/>
        </a:lnSpc>
        <a:spcBef>
          <a:spcPct val="0"/>
        </a:spcBef>
        <a:spcAft>
          <a:spcPct val="0"/>
        </a:spcAft>
        <a:tabLst>
          <a:tab pos="368300" algn="l"/>
        </a:tabLst>
        <a:defRPr sz="2000" b="1">
          <a:solidFill>
            <a:schemeClr val="tx1"/>
          </a:solidFill>
          <a:latin typeface="Arial" charset="0"/>
          <a:ea typeface="宋体" pitchFamily="2" charset="-122"/>
        </a:defRPr>
      </a:lvl3pPr>
      <a:lvl4pPr algn="l" defTabSz="912813" rtl="0" eaLnBrk="0" fontAlgn="base" hangingPunct="0">
        <a:lnSpc>
          <a:spcPct val="95000"/>
        </a:lnSpc>
        <a:spcBef>
          <a:spcPct val="0"/>
        </a:spcBef>
        <a:spcAft>
          <a:spcPct val="0"/>
        </a:spcAft>
        <a:tabLst>
          <a:tab pos="368300" algn="l"/>
        </a:tabLst>
        <a:defRPr sz="2000" b="1">
          <a:solidFill>
            <a:schemeClr val="tx1"/>
          </a:solidFill>
          <a:latin typeface="Arial" charset="0"/>
          <a:ea typeface="宋体" pitchFamily="2" charset="-122"/>
        </a:defRPr>
      </a:lvl4pPr>
      <a:lvl5pPr algn="l" defTabSz="912813" rtl="0" eaLnBrk="0" fontAlgn="base" hangingPunct="0">
        <a:lnSpc>
          <a:spcPct val="95000"/>
        </a:lnSpc>
        <a:spcBef>
          <a:spcPct val="0"/>
        </a:spcBef>
        <a:spcAft>
          <a:spcPct val="0"/>
        </a:spcAft>
        <a:tabLst>
          <a:tab pos="368300" algn="l"/>
        </a:tabLst>
        <a:defRPr sz="2000" b="1">
          <a:solidFill>
            <a:schemeClr val="tx1"/>
          </a:solidFill>
          <a:latin typeface="Arial" charset="0"/>
          <a:ea typeface="宋体" pitchFamily="2" charset="-122"/>
        </a:defRPr>
      </a:lvl5pPr>
      <a:lvl6pPr marL="457200" algn="l" defTabSz="912813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368300" algn="l"/>
        </a:tabLst>
        <a:defRPr sz="2000" b="1">
          <a:solidFill>
            <a:schemeClr val="tx1"/>
          </a:solidFill>
          <a:latin typeface="Arial" charset="0"/>
          <a:ea typeface="宋体" pitchFamily="2" charset="-122"/>
        </a:defRPr>
      </a:lvl6pPr>
      <a:lvl7pPr marL="914400" algn="l" defTabSz="912813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368300" algn="l"/>
        </a:tabLst>
        <a:defRPr sz="2000" b="1">
          <a:solidFill>
            <a:schemeClr val="tx1"/>
          </a:solidFill>
          <a:latin typeface="Arial" charset="0"/>
          <a:ea typeface="宋体" pitchFamily="2" charset="-122"/>
        </a:defRPr>
      </a:lvl7pPr>
      <a:lvl8pPr marL="1371600" algn="l" defTabSz="912813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368300" algn="l"/>
        </a:tabLst>
        <a:defRPr sz="2000" b="1">
          <a:solidFill>
            <a:schemeClr val="tx1"/>
          </a:solidFill>
          <a:latin typeface="Arial" charset="0"/>
          <a:ea typeface="宋体" pitchFamily="2" charset="-122"/>
        </a:defRPr>
      </a:lvl8pPr>
      <a:lvl9pPr marL="1828800" algn="l" defTabSz="912813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368300" algn="l"/>
        </a:tabLst>
        <a:defRPr sz="2000" b="1">
          <a:solidFill>
            <a:schemeClr val="tx1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7638" indent="-146050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</a:defRPr>
      </a:lvl2pPr>
      <a:lvl3pPr marL="301625" indent="-152400" algn="l" defTabSz="91281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441325" indent="-138113" algn="l" defTabSz="91281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  <a:ea typeface="+mn-ea"/>
        </a:defRPr>
      </a:lvl4pPr>
      <a:lvl5pPr marL="593725" indent="-150813" algn="l" defTabSz="91281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ea typeface="+mn-ea"/>
        </a:defRPr>
      </a:lvl5pPr>
      <a:lvl6pPr marL="1050925" indent="-150813" algn="l" defTabSz="91281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ea typeface="+mn-ea"/>
        </a:defRPr>
      </a:lvl6pPr>
      <a:lvl7pPr marL="1508125" indent="-150813" algn="l" defTabSz="91281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ea typeface="+mn-ea"/>
        </a:defRPr>
      </a:lvl7pPr>
      <a:lvl8pPr marL="1965325" indent="-150813" algn="l" defTabSz="91281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ea typeface="+mn-ea"/>
        </a:defRPr>
      </a:lvl8pPr>
      <a:lvl9pPr marL="2422525" indent="-150813" algn="l" defTabSz="91281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e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723015"/>
            <a:ext cx="9143999" cy="628346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zh-CN" altLang="en-US" sz="4800" smtClean="0">
                <a:latin typeface="黑体" pitchFamily="49" charset="-122"/>
                <a:ea typeface="黑体" pitchFamily="49" charset="-122"/>
              </a:rPr>
              <a:t>助力青教成长，绽放思维火花</a:t>
            </a:r>
            <a:endParaRPr lang="zh-CN" altLang="de-DE" sz="4800" dirty="0" smtClean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859214" y="1715718"/>
            <a:ext cx="4997707" cy="357188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zh-CN" sz="3200" b="0" smtClean="0">
                <a:latin typeface="方正粗宋简体" pitchFamily="65" charset="-122"/>
                <a:ea typeface="方正粗宋简体" pitchFamily="65" charset="-122"/>
              </a:rPr>
              <a:t>     </a:t>
            </a:r>
            <a:r>
              <a:rPr lang="en-US" altLang="zh-CN" sz="3200" dirty="0" smtClean="0">
                <a:latin typeface="+mn-ea"/>
              </a:rPr>
              <a:t>——</a:t>
            </a:r>
            <a:r>
              <a:rPr lang="zh-CN" altLang="en-US" sz="3200" dirty="0" smtClean="0">
                <a:latin typeface="+mn-ea"/>
              </a:rPr>
              <a:t>汇报人：赵有文</a:t>
            </a:r>
            <a:endParaRPr lang="zh-CN" altLang="de-DE" sz="3200" dirty="0" smtClean="0">
              <a:latin typeface="+mn-ea"/>
            </a:endParaRPr>
          </a:p>
        </p:txBody>
      </p:sp>
      <p:sp>
        <p:nvSpPr>
          <p:cNvPr id="3076" name="Text Box 5"/>
          <p:cNvSpPr txBox="1">
            <a:spLocks noChangeArrowheads="1"/>
          </p:cNvSpPr>
          <p:nvPr/>
        </p:nvSpPr>
        <p:spPr bwMode="auto">
          <a:xfrm>
            <a:off x="4666423" y="2345996"/>
            <a:ext cx="447757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000" b="1" dirty="0" smtClean="0">
                <a:latin typeface="楷体" pitchFamily="49" charset="-122"/>
                <a:ea typeface="楷体" pitchFamily="49" charset="-122"/>
              </a:rPr>
              <a:t>      </a:t>
            </a:r>
            <a:r>
              <a:rPr lang="en-US" altLang="zh-CN" sz="2000" b="1" dirty="0" smtClean="0">
                <a:latin typeface="+mn-ea"/>
                <a:ea typeface="+mn-ea"/>
              </a:rPr>
              <a:t>2018.12.26— 2018.12.30</a:t>
            </a:r>
            <a:endParaRPr lang="en-US" altLang="zh-CN" sz="2000" b="1" dirty="0">
              <a:latin typeface="+mn-ea"/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smtClean="0">
                <a:latin typeface="黑体" pitchFamily="49" charset="-122"/>
                <a:ea typeface="黑体" pitchFamily="49" charset="-122"/>
              </a:rPr>
              <a:t>专家风采</a:t>
            </a:r>
            <a:endParaRPr lang="zh-CN" altLang="en-US" dirty="0" smtClean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5" name="矩形 4"/>
          <p:cNvSpPr/>
          <p:nvPr/>
        </p:nvSpPr>
        <p:spPr bwMode="auto">
          <a:xfrm>
            <a:off x="5355773" y="1346193"/>
            <a:ext cx="3788227" cy="256078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13">
              <a:lnSpc>
                <a:spcPct val="95000"/>
              </a:lnSpc>
              <a:tabLst>
                <a:tab pos="368300" algn="l"/>
              </a:tabLst>
            </a:pPr>
            <a:r>
              <a:rPr lang="zh-CN" altLang="zh-CN" sz="2400" b="1" smtClean="0">
                <a:latin typeface="楷体" pitchFamily="49" charset="-122"/>
                <a:ea typeface="楷体" pitchFamily="49" charset="-122"/>
              </a:rPr>
              <a:t>汪飞燕</a:t>
            </a:r>
            <a:r>
              <a:rPr lang="en-US" altLang="zh-CN" sz="2400" b="1" smtClean="0">
                <a:latin typeface="楷体" pitchFamily="49" charset="-122"/>
                <a:ea typeface="楷体" pitchFamily="49" charset="-122"/>
              </a:rPr>
              <a:t> </a:t>
            </a:r>
          </a:p>
          <a:p>
            <a:pPr defTabSz="912813">
              <a:lnSpc>
                <a:spcPct val="95000"/>
              </a:lnSpc>
              <a:tabLst>
                <a:tab pos="368300" algn="l"/>
              </a:tabLst>
            </a:pPr>
            <a:endParaRPr lang="en-US" altLang="zh-CN" sz="2400" smtClean="0">
              <a:latin typeface="楷体" pitchFamily="49" charset="-122"/>
              <a:ea typeface="楷体" pitchFamily="49" charset="-122"/>
            </a:endParaRPr>
          </a:p>
          <a:p>
            <a:pPr defTabSz="912813">
              <a:lnSpc>
                <a:spcPct val="95000"/>
              </a:lnSpc>
              <a:tabLst>
                <a:tab pos="368300" algn="l"/>
              </a:tabLst>
            </a:pPr>
            <a:r>
              <a:rPr lang="zh-CN" altLang="zh-CN" sz="2400" smtClean="0">
                <a:latin typeface="楷体" pitchFamily="49" charset="-122"/>
                <a:ea typeface="楷体" pitchFamily="49" charset="-122"/>
              </a:rPr>
              <a:t>安徽工商职业学院教授，安徽省中等职业教育评估省级专家库（财经商贸类）评审专家成员，多次获得</a:t>
            </a:r>
            <a:r>
              <a:rPr lang="en-US" altLang="zh-CN" sz="2400" smtClean="0">
                <a:latin typeface="楷体" pitchFamily="49" charset="-122"/>
                <a:ea typeface="楷体" pitchFamily="49" charset="-122"/>
              </a:rPr>
              <a:t>“</a:t>
            </a:r>
            <a:r>
              <a:rPr lang="zh-CN" altLang="zh-CN" sz="2400" smtClean="0">
                <a:latin typeface="楷体" pitchFamily="49" charset="-122"/>
                <a:ea typeface="楷体" pitchFamily="49" charset="-122"/>
              </a:rPr>
              <a:t>教学名师</a:t>
            </a:r>
            <a:r>
              <a:rPr lang="en-US" altLang="zh-CN" sz="2400" smtClean="0">
                <a:latin typeface="楷体" pitchFamily="49" charset="-122"/>
                <a:ea typeface="楷体" pitchFamily="49" charset="-122"/>
              </a:rPr>
              <a:t>”</a:t>
            </a:r>
            <a:r>
              <a:rPr lang="zh-CN" altLang="zh-CN" sz="2400" smtClean="0">
                <a:latin typeface="楷体" pitchFamily="49" charset="-122"/>
                <a:ea typeface="楷体" pitchFamily="49" charset="-122"/>
              </a:rPr>
              <a:t>称号</a:t>
            </a:r>
            <a:r>
              <a:rPr lang="zh-CN" altLang="zh-CN" sz="2000" smtClean="0"/>
              <a:t>。</a:t>
            </a:r>
            <a:endParaRPr kumimoji="0" lang="zh-CN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pic>
        <p:nvPicPr>
          <p:cNvPr id="10241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4379" y="819398"/>
            <a:ext cx="5226827" cy="3620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dirty="0" smtClean="0">
                <a:latin typeface="黑体" pitchFamily="49" charset="-122"/>
                <a:ea typeface="黑体" pitchFamily="49" charset="-122"/>
              </a:rPr>
              <a:t>参</a:t>
            </a:r>
            <a:r>
              <a:rPr lang="zh-CN" altLang="en-US" sz="2800" dirty="0" smtClean="0">
                <a:latin typeface="黑体" pitchFamily="49" charset="-122"/>
                <a:ea typeface="黑体" pitchFamily="49" charset="-122"/>
              </a:rPr>
              <a:t>观学习</a:t>
            </a:r>
            <a:endParaRPr lang="zh-CN" altLang="en-US" sz="2800" dirty="0" smtClean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5" name="矩形 4"/>
          <p:cNvSpPr/>
          <p:nvPr/>
        </p:nvSpPr>
        <p:spPr bwMode="auto">
          <a:xfrm>
            <a:off x="5296394" y="902525"/>
            <a:ext cx="3610099" cy="369322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zh-CN" altLang="zh-CN" sz="2400" b="1" dirty="0" smtClean="0">
                <a:latin typeface="楷体" pitchFamily="49" charset="-122"/>
                <a:ea typeface="楷体" pitchFamily="49" charset="-122"/>
              </a:rPr>
              <a:t>安徽工商职业学院</a:t>
            </a:r>
            <a:r>
              <a:rPr lang="en-US" altLang="zh-CN" sz="2400" b="1" dirty="0" smtClean="0">
                <a:latin typeface="楷体" pitchFamily="49" charset="-122"/>
                <a:ea typeface="楷体" pitchFamily="49" charset="-122"/>
              </a:rPr>
              <a:t> </a:t>
            </a:r>
          </a:p>
          <a:p>
            <a:r>
              <a:rPr lang="en-US" altLang="zh-CN" sz="2400" dirty="0" smtClean="0">
                <a:latin typeface="楷体" pitchFamily="49" charset="-122"/>
                <a:ea typeface="楷体" pitchFamily="49" charset="-122"/>
              </a:rPr>
              <a:t>   </a:t>
            </a:r>
          </a:p>
          <a:p>
            <a:r>
              <a:rPr lang="en-US" altLang="zh-CN" sz="2400" dirty="0" smtClean="0">
                <a:latin typeface="楷体" pitchFamily="49" charset="-122"/>
                <a:ea typeface="楷体" pitchFamily="49" charset="-122"/>
              </a:rPr>
              <a:t>    </a:t>
            </a:r>
            <a:r>
              <a:rPr lang="zh-CN" altLang="zh-CN" sz="2400" dirty="0" smtClean="0">
                <a:latin typeface="楷体" pitchFamily="49" charset="-122"/>
                <a:ea typeface="楷体" pitchFamily="49" charset="-122"/>
              </a:rPr>
              <a:t>前身皖北人民行政公署工商处干部轮训班，创立于</a:t>
            </a:r>
            <a:r>
              <a:rPr lang="en-US" altLang="zh-CN" sz="2400" dirty="0" smtClean="0">
                <a:latin typeface="楷体" pitchFamily="49" charset="-122"/>
                <a:ea typeface="楷体" pitchFamily="49" charset="-122"/>
              </a:rPr>
              <a:t>1950</a:t>
            </a:r>
            <a:r>
              <a:rPr lang="zh-CN" altLang="zh-CN" sz="2400" dirty="0" smtClean="0">
                <a:latin typeface="楷体" pitchFamily="49" charset="-122"/>
                <a:ea typeface="楷体" pitchFamily="49" charset="-122"/>
              </a:rPr>
              <a:t>年。是一所公办全日制高等职业院校，隶属安徽省教育厅。占地面积</a:t>
            </a:r>
            <a:r>
              <a:rPr lang="en-US" altLang="zh-CN" sz="2400" dirty="0" smtClean="0">
                <a:latin typeface="楷体" pitchFamily="49" charset="-122"/>
                <a:ea typeface="楷体" pitchFamily="49" charset="-122"/>
              </a:rPr>
              <a:t>450</a:t>
            </a:r>
            <a:r>
              <a:rPr lang="zh-CN" altLang="zh-CN" sz="2400" dirty="0" smtClean="0">
                <a:latin typeface="楷体" pitchFamily="49" charset="-122"/>
                <a:ea typeface="楷体" pitchFamily="49" charset="-122"/>
              </a:rPr>
              <a:t>亩</a:t>
            </a:r>
            <a:r>
              <a:rPr lang="zh-CN" altLang="en-US" sz="2400" dirty="0" smtClean="0">
                <a:latin typeface="楷体" pitchFamily="49" charset="-122"/>
                <a:ea typeface="楷体" pitchFamily="49" charset="-122"/>
              </a:rPr>
              <a:t>。</a:t>
            </a:r>
            <a:r>
              <a:rPr lang="zh-CN" altLang="zh-CN" sz="2400" dirty="0" smtClean="0">
                <a:latin typeface="楷体" pitchFamily="49" charset="-122"/>
                <a:ea typeface="楷体" pitchFamily="49" charset="-122"/>
              </a:rPr>
              <a:t>目前，专任教师</a:t>
            </a:r>
            <a:r>
              <a:rPr lang="en-US" altLang="zh-CN" sz="2400" dirty="0" smtClean="0">
                <a:latin typeface="楷体" pitchFamily="49" charset="-122"/>
                <a:ea typeface="楷体" pitchFamily="49" charset="-122"/>
              </a:rPr>
              <a:t>405</a:t>
            </a:r>
            <a:r>
              <a:rPr lang="zh-CN" altLang="zh-CN" sz="2400" dirty="0" smtClean="0">
                <a:latin typeface="楷体" pitchFamily="49" charset="-122"/>
                <a:ea typeface="楷体" pitchFamily="49" charset="-122"/>
              </a:rPr>
              <a:t>人，在校生</a:t>
            </a:r>
            <a:r>
              <a:rPr lang="en-US" altLang="zh-CN" sz="2400" dirty="0" smtClean="0">
                <a:latin typeface="楷体" pitchFamily="49" charset="-122"/>
                <a:ea typeface="楷体" pitchFamily="49" charset="-122"/>
              </a:rPr>
              <a:t>11000</a:t>
            </a:r>
            <a:r>
              <a:rPr lang="zh-CN" altLang="zh-CN" sz="2400" dirty="0" smtClean="0">
                <a:latin typeface="楷体" pitchFamily="49" charset="-122"/>
                <a:ea typeface="楷体" pitchFamily="49" charset="-122"/>
              </a:rPr>
              <a:t>余人。</a:t>
            </a:r>
            <a:endParaRPr lang="en-US" altLang="zh-CN" sz="2400" dirty="0" smtClean="0">
              <a:latin typeface="楷体" pitchFamily="49" charset="-122"/>
              <a:ea typeface="楷体" pitchFamily="49" charset="-122"/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zh-CN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pic>
        <p:nvPicPr>
          <p:cNvPr id="7" name="Picture 2" descr="C:\Users\Administrator\Desktop\微信图片_20190420230002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194" y="1009402"/>
            <a:ext cx="4825031" cy="3277590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smtClean="0">
                <a:latin typeface="黑体" pitchFamily="49" charset="-122"/>
                <a:ea typeface="黑体" pitchFamily="49" charset="-122"/>
              </a:rPr>
              <a:t>走进安徽工商职业学院</a:t>
            </a:r>
            <a:endParaRPr lang="zh-CN" altLang="en-US" sz="2800" dirty="0" smtClean="0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3789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9582" y="1222739"/>
            <a:ext cx="3347397" cy="22315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5614" y="546265"/>
            <a:ext cx="3135084" cy="2090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4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68239" y="2731325"/>
            <a:ext cx="2723421" cy="1815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475013" y="3681351"/>
            <a:ext cx="32775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smtClean="0">
                <a:latin typeface="楷体" pitchFamily="49" charset="-122"/>
                <a:ea typeface="楷体" pitchFamily="49" charset="-122"/>
              </a:rPr>
              <a:t>省级物流实训基地</a:t>
            </a:r>
            <a:endParaRPr lang="zh-CN" altLang="en-US" sz="280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smtClean="0">
                <a:latin typeface="黑体" pitchFamily="49" charset="-122"/>
                <a:ea typeface="黑体" pitchFamily="49" charset="-122"/>
              </a:rPr>
              <a:t>走进安徽工商职业学院</a:t>
            </a:r>
            <a:endParaRPr lang="zh-CN" altLang="en-US" dirty="0" smtClean="0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47807" y="556163"/>
            <a:ext cx="3351808" cy="223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22323" y="2839687"/>
            <a:ext cx="2689760" cy="1793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9383" y="645437"/>
            <a:ext cx="4061360" cy="2547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矩形 9"/>
          <p:cNvSpPr/>
          <p:nvPr/>
        </p:nvSpPr>
        <p:spPr>
          <a:xfrm>
            <a:off x="1274933" y="3150618"/>
            <a:ext cx="1980029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smtClean="0">
                <a:latin typeface="楷体" pitchFamily="49" charset="-122"/>
                <a:ea typeface="楷体" pitchFamily="49" charset="-122"/>
              </a:rPr>
              <a:t>VBSE</a:t>
            </a:r>
            <a:r>
              <a:rPr lang="zh-CN" altLang="zh-CN" sz="2800" smtClean="0">
                <a:latin typeface="楷体" pitchFamily="49" charset="-122"/>
                <a:ea typeface="楷体" pitchFamily="49" charset="-122"/>
              </a:rPr>
              <a:t>实训室</a:t>
            </a:r>
            <a:endParaRPr lang="en-US" altLang="zh-CN" sz="2800" smtClean="0">
              <a:latin typeface="楷体" pitchFamily="49" charset="-122"/>
              <a:ea typeface="楷体" pitchFamily="49" charset="-122"/>
            </a:endParaRPr>
          </a:p>
          <a:p>
            <a:endParaRPr lang="zh-CN" altLang="en-US" sz="280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-1" y="3775653"/>
            <a:ext cx="49045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800" smtClean="0">
                <a:latin typeface="楷体" pitchFamily="49" charset="-122"/>
                <a:ea typeface="楷体" pitchFamily="49" charset="-122"/>
              </a:rPr>
              <a:t>vi</a:t>
            </a:r>
            <a:r>
              <a:rPr lang="en-US" altLang="zh-CN" sz="2000" smtClean="0">
                <a:latin typeface="楷体" pitchFamily="49" charset="-122"/>
                <a:ea typeface="楷体" pitchFamily="49" charset="-122"/>
              </a:rPr>
              <a:t>rtual Business Society Environment</a:t>
            </a:r>
          </a:p>
          <a:p>
            <a:r>
              <a:rPr lang="zh-CN" altLang="en-US" sz="2000" smtClean="0">
                <a:latin typeface="楷体" pitchFamily="49" charset="-122"/>
                <a:ea typeface="楷体" pitchFamily="49" charset="-122"/>
              </a:rPr>
              <a:t>   （虚拟商业社会环境的简称 </a:t>
            </a:r>
            <a:r>
              <a:rPr lang="en-US" altLang="zh-CN" sz="2000" smtClean="0">
                <a:latin typeface="楷体" pitchFamily="49" charset="-122"/>
                <a:ea typeface="楷体" pitchFamily="49" charset="-122"/>
              </a:rPr>
              <a:t>VBSE</a:t>
            </a:r>
            <a:r>
              <a:rPr lang="zh-CN" altLang="en-US" sz="2000" smtClean="0">
                <a:latin typeface="楷体" pitchFamily="49" charset="-122"/>
                <a:ea typeface="楷体" pitchFamily="49" charset="-122"/>
              </a:rPr>
              <a:t>）</a:t>
            </a:r>
            <a:endParaRPr lang="zh-CN" altLang="en-US" sz="200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smtClean="0">
                <a:latin typeface="黑体" pitchFamily="49" charset="-122"/>
                <a:ea typeface="黑体" pitchFamily="49" charset="-122"/>
              </a:rPr>
              <a:t> 课堂剪影  </a:t>
            </a:r>
            <a:endParaRPr lang="zh-CN" altLang="en-US" sz="2800" dirty="0" smtClean="0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4395" y="2766952"/>
            <a:ext cx="3230088" cy="180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5176" y="705345"/>
            <a:ext cx="3221182" cy="216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994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24582" y="657843"/>
            <a:ext cx="3240000" cy="216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77047" y="2769670"/>
            <a:ext cx="3199410" cy="1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3113" y="879872"/>
            <a:ext cx="6096000" cy="244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7" name="标题 1"/>
          <p:cNvSpPr>
            <a:spLocks noGrp="1"/>
          </p:cNvSpPr>
          <p:nvPr>
            <p:ph type="title"/>
          </p:nvPr>
        </p:nvSpPr>
        <p:spPr bwMode="auto">
          <a:xfrm>
            <a:off x="0" y="86916"/>
            <a:ext cx="91440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CN" sz="2400" smtClean="0">
                <a:latin typeface="黑体" pitchFamily="49" charset="-122"/>
                <a:ea typeface="黑体" pitchFamily="49" charset="-122"/>
              </a:rPr>
              <a:t>   2018</a:t>
            </a:r>
            <a:r>
              <a:rPr lang="zh-CN" altLang="en-US" sz="2400" smtClean="0">
                <a:latin typeface="黑体" pitchFamily="49" charset="-122"/>
                <a:ea typeface="黑体" pitchFamily="49" charset="-122"/>
              </a:rPr>
              <a:t>年“仪征技师学院骨干教师能力提升培训班学习”汇报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1598614" y="3506391"/>
            <a:ext cx="5102225" cy="739378"/>
          </a:xfrm>
          <a:prstGeom prst="roundRect">
            <a:avLst>
              <a:gd name="adj" fmla="val 6415"/>
            </a:avLst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0" scaled="1"/>
            <a:tileRect/>
          </a:gradFill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825500" y="3713560"/>
            <a:ext cx="1096963" cy="822722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82664" y="3776216"/>
            <a:ext cx="847725" cy="9048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6600" b="1" kern="0" dirty="0">
                <a:solidFill>
                  <a:srgbClr val="007033"/>
                </a:solidFill>
                <a:latin typeface="Arial Rounded MT Bold" pitchFamily="34" charset="0"/>
                <a:ea typeface="Gungsuh" pitchFamily="18" charset="-127"/>
              </a:rPr>
              <a:t>C</a:t>
            </a:r>
            <a:endParaRPr lang="zh-CN" altLang="en-US" sz="6600" b="1" kern="0" dirty="0">
              <a:solidFill>
                <a:srgbClr val="007033"/>
              </a:solidFill>
              <a:latin typeface="Arial Rounded MT Bold" pitchFamily="34" charset="0"/>
              <a:ea typeface="Gungsuh" pitchFamily="18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03551" y="3648796"/>
            <a:ext cx="2633663" cy="535531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600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收获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dirty="0" smtClean="0">
                <a:latin typeface="黑体" pitchFamily="49" charset="-122"/>
                <a:ea typeface="黑体" pitchFamily="49" charset="-122"/>
              </a:rPr>
              <a:t>三、培训收获</a:t>
            </a:r>
          </a:p>
        </p:txBody>
      </p:sp>
      <p:sp>
        <p:nvSpPr>
          <p:cNvPr id="32771" name="内容占位符 2"/>
          <p:cNvSpPr>
            <a:spLocks noGrp="1"/>
          </p:cNvSpPr>
          <p:nvPr>
            <p:ph idx="1"/>
          </p:nvPr>
        </p:nvSpPr>
        <p:spPr bwMode="auto">
          <a:xfrm>
            <a:off x="-1" y="606610"/>
            <a:ext cx="9016409" cy="4039818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altLang="zh-CN" sz="2000" dirty="0" smtClean="0"/>
          </a:p>
          <a:p>
            <a:pPr>
              <a:buNone/>
            </a:pPr>
            <a:endParaRPr lang="en-US" altLang="zh-CN" sz="2000" b="1" dirty="0" smtClean="0"/>
          </a:p>
          <a:p>
            <a:endParaRPr lang="en-US" altLang="zh-CN" sz="2000" dirty="0" smtClean="0"/>
          </a:p>
          <a:p>
            <a:endParaRPr lang="zh-CN" altLang="zh-CN" sz="2000" dirty="0" smtClean="0"/>
          </a:p>
          <a:p>
            <a:pPr>
              <a:buNone/>
            </a:pPr>
            <a:r>
              <a:rPr lang="en-US" altLang="zh-CN" sz="2000" dirty="0" smtClean="0"/>
              <a:t>    </a:t>
            </a:r>
          </a:p>
          <a:p>
            <a:pPr marL="0" indent="0">
              <a:lnSpc>
                <a:spcPct val="150000"/>
              </a:lnSpc>
              <a:buFontTx/>
              <a:buNone/>
            </a:pPr>
            <a:endParaRPr lang="zh-CN" altLang="en-US" sz="2000" dirty="0" smtClean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6" name="组合 12"/>
          <p:cNvGrpSpPr>
            <a:grpSpLocks/>
          </p:cNvGrpSpPr>
          <p:nvPr/>
        </p:nvGrpSpPr>
        <p:grpSpPr bwMode="auto">
          <a:xfrm>
            <a:off x="0" y="814512"/>
            <a:ext cx="6527800" cy="773558"/>
            <a:chOff x="0" y="0"/>
            <a:chExt cx="6527223" cy="773274"/>
          </a:xfrm>
        </p:grpSpPr>
        <p:pic>
          <p:nvPicPr>
            <p:cNvPr id="7" name="图片 1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0"/>
              <a:ext cx="792088" cy="7732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文本框 15"/>
            <p:cNvSpPr txBox="1">
              <a:spLocks noChangeArrowheads="1"/>
            </p:cNvSpPr>
            <p:nvPr/>
          </p:nvSpPr>
          <p:spPr bwMode="auto">
            <a:xfrm>
              <a:off x="720096" y="229918"/>
              <a:ext cx="5807127" cy="523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2800">
                  <a:latin typeface="楷体" pitchFamily="49" charset="-122"/>
                  <a:ea typeface="楷体" pitchFamily="49" charset="-122"/>
                </a:rPr>
                <a:t>1.加强学习，更新观念</a:t>
              </a:r>
            </a:p>
          </p:txBody>
        </p:sp>
      </p:grpSp>
      <p:grpSp>
        <p:nvGrpSpPr>
          <p:cNvPr id="9" name="组合 16"/>
          <p:cNvGrpSpPr>
            <a:grpSpLocks/>
          </p:cNvGrpSpPr>
          <p:nvPr/>
        </p:nvGrpSpPr>
        <p:grpSpPr bwMode="auto">
          <a:xfrm>
            <a:off x="0" y="1991529"/>
            <a:ext cx="5934075" cy="773112"/>
            <a:chOff x="-71752" y="83771"/>
            <a:chExt cx="5934122" cy="773274"/>
          </a:xfrm>
        </p:grpSpPr>
        <p:pic>
          <p:nvPicPr>
            <p:cNvPr id="10" name="图片 1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71752" y="83771"/>
              <a:ext cx="792088" cy="7732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文本框 19"/>
            <p:cNvSpPr txBox="1">
              <a:spLocks noChangeArrowheads="1"/>
            </p:cNvSpPr>
            <p:nvPr/>
          </p:nvSpPr>
          <p:spPr bwMode="auto">
            <a:xfrm>
              <a:off x="720096" y="217215"/>
              <a:ext cx="5142274" cy="523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2800">
                  <a:latin typeface="楷体" pitchFamily="49" charset="-122"/>
                  <a:ea typeface="楷体" pitchFamily="49" charset="-122"/>
                </a:rPr>
                <a:t>2</a:t>
              </a:r>
              <a:r>
                <a:rPr lang="zh-CN" altLang="en-US" sz="2800" smtClean="0">
                  <a:latin typeface="楷体" pitchFamily="49" charset="-122"/>
                  <a:ea typeface="楷体" pitchFamily="49" charset="-122"/>
                </a:rPr>
                <a:t>.创新思维，锐意进取</a:t>
              </a:r>
              <a:endParaRPr lang="zh-CN" altLang="en-US" sz="2800">
                <a:latin typeface="楷体" pitchFamily="49" charset="-122"/>
                <a:ea typeface="楷体" pitchFamily="49" charset="-122"/>
              </a:endParaRPr>
            </a:p>
          </p:txBody>
        </p:sp>
      </p:grpSp>
      <p:grpSp>
        <p:nvGrpSpPr>
          <p:cNvPr id="12" name="组合 20"/>
          <p:cNvGrpSpPr>
            <a:grpSpLocks/>
          </p:cNvGrpSpPr>
          <p:nvPr/>
        </p:nvGrpSpPr>
        <p:grpSpPr bwMode="auto">
          <a:xfrm>
            <a:off x="0" y="3259943"/>
            <a:ext cx="5816600" cy="772796"/>
            <a:chOff x="-71752" y="58432"/>
            <a:chExt cx="5816646" cy="773274"/>
          </a:xfrm>
        </p:grpSpPr>
        <p:pic>
          <p:nvPicPr>
            <p:cNvPr id="13" name="图片 2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71752" y="58432"/>
              <a:ext cx="792088" cy="7732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文本框 22"/>
            <p:cNvSpPr txBox="1">
              <a:spLocks noChangeArrowheads="1"/>
            </p:cNvSpPr>
            <p:nvPr/>
          </p:nvSpPr>
          <p:spPr bwMode="auto">
            <a:xfrm>
              <a:off x="720096" y="191809"/>
              <a:ext cx="5024798" cy="5235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2800">
                  <a:latin typeface="楷体" pitchFamily="49" charset="-122"/>
                  <a:ea typeface="楷体" pitchFamily="49" charset="-122"/>
                </a:rPr>
                <a:t>3</a:t>
              </a:r>
              <a:r>
                <a:rPr lang="zh-CN" altLang="en-US" sz="2800" smtClean="0">
                  <a:latin typeface="楷体" pitchFamily="49" charset="-122"/>
                  <a:ea typeface="楷体" pitchFamily="49" charset="-122"/>
                </a:rPr>
                <a:t>.务实求真，学以致用</a:t>
              </a:r>
              <a:endParaRPr lang="zh-CN" altLang="en-US" sz="2800">
                <a:latin typeface="楷体" pitchFamily="49" charset="-122"/>
                <a:ea typeface="楷体" pitchFamily="49" charset="-122"/>
              </a:endParaRPr>
            </a:p>
          </p:txBody>
        </p:sp>
      </p:grp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34841" y="1353787"/>
            <a:ext cx="3509159" cy="23394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内容占位符 2"/>
          <p:cNvSpPr>
            <a:spLocks noGrp="1"/>
          </p:cNvSpPr>
          <p:nvPr>
            <p:ph idx="1"/>
          </p:nvPr>
        </p:nvSpPr>
        <p:spPr bwMode="auto">
          <a:xfrm>
            <a:off x="-1" y="606610"/>
            <a:ext cx="9016409" cy="4039818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altLang="zh-CN" sz="2000" dirty="0" smtClean="0"/>
          </a:p>
          <a:p>
            <a:pPr>
              <a:buNone/>
            </a:pPr>
            <a:endParaRPr lang="en-US" altLang="zh-CN" sz="2000" b="1" dirty="0" smtClean="0"/>
          </a:p>
          <a:p>
            <a:endParaRPr lang="en-US" altLang="zh-CN" sz="2000" dirty="0" smtClean="0"/>
          </a:p>
          <a:p>
            <a:endParaRPr lang="zh-CN" altLang="zh-CN" sz="2000" dirty="0" smtClean="0"/>
          </a:p>
          <a:p>
            <a:pPr>
              <a:buNone/>
            </a:pPr>
            <a:r>
              <a:rPr lang="en-US" altLang="zh-CN" sz="2000" dirty="0" smtClean="0"/>
              <a:t>    </a:t>
            </a:r>
          </a:p>
          <a:p>
            <a:pPr marL="0" indent="0">
              <a:lnSpc>
                <a:spcPct val="150000"/>
              </a:lnSpc>
              <a:buFontTx/>
              <a:buNone/>
            </a:pPr>
            <a:endParaRPr lang="zh-CN" altLang="en-US" sz="20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标题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6" name="文本框 5"/>
          <p:cNvSpPr txBox="1">
            <a:spLocks noChangeArrowheads="1"/>
          </p:cNvSpPr>
          <p:nvPr/>
        </p:nvSpPr>
        <p:spPr bwMode="auto">
          <a:xfrm>
            <a:off x="224847" y="873012"/>
            <a:ext cx="4460529" cy="613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3200" b="1">
                <a:latin typeface="微软雅黑" pitchFamily="34" charset="-122"/>
                <a:ea typeface="微软雅黑" pitchFamily="34" charset="-122"/>
              </a:rPr>
              <a:t>1.</a:t>
            </a:r>
            <a:r>
              <a:rPr lang="zh-CN" altLang="en-US" sz="3200" b="1">
                <a:latin typeface="微软雅黑" pitchFamily="34" charset="-122"/>
                <a:ea typeface="微软雅黑" pitchFamily="34" charset="-122"/>
              </a:rPr>
              <a:t>加强学习，更新观念</a:t>
            </a:r>
          </a:p>
        </p:txBody>
      </p:sp>
      <p:sp>
        <p:nvSpPr>
          <p:cNvPr id="17" name="文本框 99"/>
          <p:cNvSpPr txBox="1">
            <a:spLocks noChangeArrowheads="1"/>
          </p:cNvSpPr>
          <p:nvPr/>
        </p:nvSpPr>
        <p:spPr bwMode="auto">
          <a:xfrm>
            <a:off x="1281980" y="1778701"/>
            <a:ext cx="396875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zh-CN" altLang="en-US" sz="4000" smtClean="0">
                <a:solidFill>
                  <a:srgbClr val="333333"/>
                </a:solidFill>
                <a:latin typeface="华文行楷" pitchFamily="2" charset="-122"/>
                <a:ea typeface="华文行楷" pitchFamily="2" charset="-122"/>
              </a:rPr>
              <a:t>自强素质</a:t>
            </a:r>
            <a:endParaRPr lang="zh-CN" altLang="en-US" sz="4000">
              <a:solidFill>
                <a:srgbClr val="333333"/>
              </a:solidFill>
              <a:latin typeface="华文行楷" pitchFamily="2" charset="-122"/>
              <a:ea typeface="华文行楷" pitchFamily="2" charset="-122"/>
            </a:endParaRPr>
          </a:p>
        </p:txBody>
      </p:sp>
      <p:sp>
        <p:nvSpPr>
          <p:cNvPr id="18" name="文本框 7"/>
          <p:cNvSpPr txBox="1">
            <a:spLocks noChangeArrowheads="1"/>
          </p:cNvSpPr>
          <p:nvPr/>
        </p:nvSpPr>
        <p:spPr bwMode="auto">
          <a:xfrm>
            <a:off x="2783774" y="1743074"/>
            <a:ext cx="57626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zh-CN" altLang="en-US" sz="4000" smtClean="0">
                <a:solidFill>
                  <a:srgbClr val="333333"/>
                </a:solidFill>
                <a:latin typeface="华文行楷" pitchFamily="2" charset="-122"/>
                <a:ea typeface="华文行楷" pitchFamily="2" charset="-122"/>
              </a:rPr>
              <a:t>沟通学习</a:t>
            </a:r>
            <a:endParaRPr lang="zh-CN" altLang="en-US" sz="4000">
              <a:solidFill>
                <a:srgbClr val="333333"/>
              </a:solidFill>
              <a:latin typeface="华文行楷" pitchFamily="2" charset="-122"/>
              <a:ea typeface="华文行楷" pitchFamily="2" charset="-122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01198" y="1104403"/>
            <a:ext cx="4423576" cy="32196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zh-CN" altLang="en-US" sz="2800" b="0" dirty="0" smtClean="0">
              <a:latin typeface="方正粗宋简体" pitchFamily="65" charset="-122"/>
              <a:ea typeface="方正粗宋简体" pitchFamily="65" charset="-122"/>
            </a:endParaRPr>
          </a:p>
        </p:txBody>
      </p:sp>
      <p:sp>
        <p:nvSpPr>
          <p:cNvPr id="32771" name="内容占位符 2"/>
          <p:cNvSpPr>
            <a:spLocks noGrp="1"/>
          </p:cNvSpPr>
          <p:nvPr>
            <p:ph idx="1"/>
          </p:nvPr>
        </p:nvSpPr>
        <p:spPr bwMode="auto">
          <a:xfrm>
            <a:off x="-1" y="606610"/>
            <a:ext cx="9016409" cy="4039818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altLang="zh-CN" sz="2000" dirty="0" smtClean="0"/>
          </a:p>
          <a:p>
            <a:pPr>
              <a:buNone/>
            </a:pPr>
            <a:endParaRPr lang="en-US" altLang="zh-CN" sz="2000" b="1" dirty="0" smtClean="0"/>
          </a:p>
          <a:p>
            <a:endParaRPr lang="en-US" altLang="zh-CN" sz="2000" dirty="0" smtClean="0"/>
          </a:p>
          <a:p>
            <a:endParaRPr lang="zh-CN" altLang="zh-CN" sz="2000" dirty="0" smtClean="0"/>
          </a:p>
          <a:p>
            <a:pPr>
              <a:buNone/>
            </a:pPr>
            <a:r>
              <a:rPr lang="en-US" altLang="zh-CN" sz="2000" dirty="0" smtClean="0"/>
              <a:t>    </a:t>
            </a:r>
          </a:p>
          <a:p>
            <a:pPr marL="0" indent="0">
              <a:lnSpc>
                <a:spcPct val="150000"/>
              </a:lnSpc>
              <a:buFontTx/>
              <a:buNone/>
            </a:pPr>
            <a:endParaRPr lang="zh-CN" altLang="en-US" sz="2000" dirty="0" smtClean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5" name="组合 10"/>
          <p:cNvGrpSpPr>
            <a:grpSpLocks/>
          </p:cNvGrpSpPr>
          <p:nvPr/>
        </p:nvGrpSpPr>
        <p:grpSpPr bwMode="auto">
          <a:xfrm>
            <a:off x="0" y="716560"/>
            <a:ext cx="4656137" cy="537174"/>
            <a:chOff x="-59585" y="18435"/>
            <a:chExt cx="3364614" cy="537587"/>
          </a:xfrm>
        </p:grpSpPr>
        <p:sp>
          <p:nvSpPr>
            <p:cNvPr id="16" name="文本框 5"/>
            <p:cNvSpPr txBox="1">
              <a:spLocks noChangeArrowheads="1"/>
            </p:cNvSpPr>
            <p:nvPr/>
          </p:nvSpPr>
          <p:spPr bwMode="auto">
            <a:xfrm>
              <a:off x="272655" y="32400"/>
              <a:ext cx="2825413" cy="5236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2800" b="1">
                  <a:latin typeface="微软雅黑" pitchFamily="34" charset="-122"/>
                  <a:ea typeface="微软雅黑" pitchFamily="34" charset="-122"/>
                </a:rPr>
                <a:t>2</a:t>
              </a:r>
              <a:r>
                <a:rPr lang="zh-CN" altLang="en-US" sz="2800" b="1" smtClean="0">
                  <a:latin typeface="微软雅黑" pitchFamily="34" charset="-122"/>
                  <a:ea typeface="微软雅黑" pitchFamily="34" charset="-122"/>
                </a:rPr>
                <a:t>.创新思维，锐意进取</a:t>
              </a:r>
              <a:endParaRPr lang="zh-CN" altLang="en-US" sz="2800" b="1"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17" name="图片 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972557" y="18589"/>
              <a:ext cx="332472" cy="5365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" name="图片 1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flipH="1">
              <a:off x="-59585" y="18435"/>
              <a:ext cx="332472" cy="5365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9" name="组合 7"/>
          <p:cNvGrpSpPr>
            <a:grpSpLocks/>
          </p:cNvGrpSpPr>
          <p:nvPr/>
        </p:nvGrpSpPr>
        <p:grpSpPr bwMode="auto">
          <a:xfrm>
            <a:off x="157101" y="1269588"/>
            <a:ext cx="4414838" cy="1506538"/>
            <a:chOff x="0" y="0"/>
            <a:chExt cx="4415055" cy="1505822"/>
          </a:xfrm>
        </p:grpSpPr>
        <p:pic>
          <p:nvPicPr>
            <p:cNvPr id="20" name="图片 8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251493">
              <a:off x="0" y="0"/>
              <a:ext cx="4415055" cy="1505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文本框 9"/>
            <p:cNvSpPr txBox="1">
              <a:spLocks noChangeArrowheads="1"/>
            </p:cNvSpPr>
            <p:nvPr/>
          </p:nvSpPr>
          <p:spPr bwMode="auto">
            <a:xfrm>
              <a:off x="162519" y="433266"/>
              <a:ext cx="2394997" cy="584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3200" smtClean="0">
                  <a:solidFill>
                    <a:schemeClr val="bg1"/>
                  </a:solidFill>
                  <a:latin typeface="楷体" pitchFamily="49" charset="-122"/>
                  <a:ea typeface="楷体" pitchFamily="49" charset="-122"/>
                </a:rPr>
                <a:t>观念解放</a:t>
              </a:r>
              <a:endParaRPr lang="zh-CN" altLang="en-US" sz="3200">
                <a:solidFill>
                  <a:schemeClr val="bg1"/>
                </a:solidFill>
                <a:latin typeface="楷体" pitchFamily="49" charset="-122"/>
                <a:ea typeface="楷体" pitchFamily="49" charset="-122"/>
              </a:endParaRPr>
            </a:p>
          </p:txBody>
        </p:sp>
      </p:grpSp>
      <p:grpSp>
        <p:nvGrpSpPr>
          <p:cNvPr id="22" name="组合 11"/>
          <p:cNvGrpSpPr>
            <a:grpSpLocks/>
          </p:cNvGrpSpPr>
          <p:nvPr/>
        </p:nvGrpSpPr>
        <p:grpSpPr bwMode="auto">
          <a:xfrm>
            <a:off x="0" y="2678793"/>
            <a:ext cx="4414837" cy="1506538"/>
            <a:chOff x="0" y="0"/>
            <a:chExt cx="4415055" cy="1505822"/>
          </a:xfrm>
        </p:grpSpPr>
        <p:pic>
          <p:nvPicPr>
            <p:cNvPr id="23" name="图片 1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251493">
              <a:off x="0" y="0"/>
              <a:ext cx="4415055" cy="1505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文本框 14"/>
            <p:cNvSpPr txBox="1">
              <a:spLocks noChangeArrowheads="1"/>
            </p:cNvSpPr>
            <p:nvPr/>
          </p:nvSpPr>
          <p:spPr bwMode="auto">
            <a:xfrm>
              <a:off x="212057" y="433266"/>
              <a:ext cx="2444123" cy="584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3200" smtClean="0">
                  <a:solidFill>
                    <a:schemeClr val="bg1"/>
                  </a:solidFill>
                  <a:latin typeface="楷体" pitchFamily="49" charset="-122"/>
                  <a:ea typeface="楷体" pitchFamily="49" charset="-122"/>
                </a:rPr>
                <a:t>改革创新</a:t>
              </a:r>
              <a:endParaRPr lang="zh-CN" altLang="en-US" sz="3200">
                <a:solidFill>
                  <a:schemeClr val="bg1"/>
                </a:solidFill>
                <a:latin typeface="楷体" pitchFamily="49" charset="-122"/>
                <a:ea typeface="楷体" pitchFamily="49" charset="-122"/>
              </a:endParaRPr>
            </a:p>
          </p:txBody>
        </p:sp>
      </p:grpSp>
      <p:pic>
        <p:nvPicPr>
          <p:cNvPr id="28" name="图片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390500" y="1235033"/>
            <a:ext cx="4599240" cy="3066802"/>
          </a:xfrm>
          <a:prstGeom prst="rect">
            <a:avLst/>
          </a:prstGeom>
          <a:effectLst>
            <a:softEdge rad="228600"/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zh-CN" altLang="en-US" sz="2800" b="0" dirty="0" smtClean="0">
              <a:latin typeface="方正粗宋简体" pitchFamily="65" charset="-122"/>
              <a:ea typeface="方正粗宋简体" pitchFamily="65" charset="-122"/>
            </a:endParaRPr>
          </a:p>
        </p:txBody>
      </p:sp>
      <p:sp>
        <p:nvSpPr>
          <p:cNvPr id="32771" name="内容占位符 2"/>
          <p:cNvSpPr>
            <a:spLocks noGrp="1"/>
          </p:cNvSpPr>
          <p:nvPr>
            <p:ph idx="1"/>
          </p:nvPr>
        </p:nvSpPr>
        <p:spPr bwMode="auto">
          <a:xfrm>
            <a:off x="-1" y="606610"/>
            <a:ext cx="9016409" cy="4039818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altLang="zh-CN" sz="2000" dirty="0" smtClean="0"/>
          </a:p>
          <a:p>
            <a:pPr>
              <a:buNone/>
            </a:pPr>
            <a:endParaRPr lang="en-US" altLang="zh-CN" sz="2000" b="1" dirty="0" smtClean="0"/>
          </a:p>
          <a:p>
            <a:endParaRPr lang="en-US" altLang="zh-CN" sz="2000" dirty="0" smtClean="0"/>
          </a:p>
          <a:p>
            <a:endParaRPr lang="zh-CN" altLang="zh-CN" sz="2000" dirty="0" smtClean="0"/>
          </a:p>
          <a:p>
            <a:pPr>
              <a:buNone/>
            </a:pPr>
            <a:r>
              <a:rPr lang="en-US" altLang="zh-CN" sz="2000" dirty="0" smtClean="0"/>
              <a:t>    </a:t>
            </a:r>
          </a:p>
          <a:p>
            <a:pPr marL="0" indent="0">
              <a:lnSpc>
                <a:spcPct val="150000"/>
              </a:lnSpc>
              <a:buFontTx/>
              <a:buNone/>
            </a:pPr>
            <a:endParaRPr lang="zh-CN" altLang="en-US" sz="2000" dirty="0" smtClean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5" name="组合 10"/>
          <p:cNvGrpSpPr>
            <a:grpSpLocks/>
          </p:cNvGrpSpPr>
          <p:nvPr/>
        </p:nvGrpSpPr>
        <p:grpSpPr bwMode="auto">
          <a:xfrm>
            <a:off x="0" y="707860"/>
            <a:ext cx="5341937" cy="598723"/>
            <a:chOff x="-59585" y="18435"/>
            <a:chExt cx="3364614" cy="599463"/>
          </a:xfrm>
        </p:grpSpPr>
        <p:sp>
          <p:nvSpPr>
            <p:cNvPr id="16" name="文本框 5"/>
            <p:cNvSpPr txBox="1">
              <a:spLocks noChangeArrowheads="1"/>
            </p:cNvSpPr>
            <p:nvPr/>
          </p:nvSpPr>
          <p:spPr bwMode="auto">
            <a:xfrm>
              <a:off x="272655" y="32400"/>
              <a:ext cx="2825413" cy="5854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3200" b="1">
                  <a:latin typeface="微软雅黑" pitchFamily="34" charset="-122"/>
                  <a:ea typeface="微软雅黑" pitchFamily="34" charset="-122"/>
                </a:rPr>
                <a:t>3</a:t>
              </a:r>
              <a:r>
                <a:rPr lang="zh-CN" altLang="en-US" sz="3200" b="1" smtClean="0">
                  <a:latin typeface="微软雅黑" pitchFamily="34" charset="-122"/>
                  <a:ea typeface="微软雅黑" pitchFamily="34" charset="-122"/>
                </a:rPr>
                <a:t>.求真务实，学以致用</a:t>
              </a:r>
              <a:endParaRPr lang="zh-CN" altLang="en-US" sz="3200" b="1"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17" name="图片 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972557" y="18589"/>
              <a:ext cx="332472" cy="5365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" name="图片 1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flipH="1">
              <a:off x="-59585" y="18435"/>
              <a:ext cx="332472" cy="5365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9" name="组合 7"/>
          <p:cNvGrpSpPr>
            <a:grpSpLocks/>
          </p:cNvGrpSpPr>
          <p:nvPr/>
        </p:nvGrpSpPr>
        <p:grpSpPr bwMode="auto">
          <a:xfrm>
            <a:off x="0" y="1488499"/>
            <a:ext cx="6073775" cy="1506538"/>
            <a:chOff x="0" y="0"/>
            <a:chExt cx="4415055" cy="1505822"/>
          </a:xfrm>
        </p:grpSpPr>
        <p:pic>
          <p:nvPicPr>
            <p:cNvPr id="20" name="图片 8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251493">
              <a:off x="0" y="0"/>
              <a:ext cx="4415055" cy="1505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文本框 9"/>
            <p:cNvSpPr txBox="1">
              <a:spLocks noChangeArrowheads="1"/>
            </p:cNvSpPr>
            <p:nvPr/>
          </p:nvSpPr>
          <p:spPr bwMode="auto">
            <a:xfrm>
              <a:off x="153935" y="421629"/>
              <a:ext cx="4135323" cy="584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3200" smtClean="0">
                  <a:solidFill>
                    <a:schemeClr val="bg1"/>
                  </a:solidFill>
                  <a:latin typeface="楷体" pitchFamily="49" charset="-122"/>
                  <a:ea typeface="楷体" pitchFamily="49" charset="-122"/>
                </a:rPr>
                <a:t>深刻领会</a:t>
              </a:r>
              <a:endParaRPr lang="zh-CN" altLang="en-US" sz="3200">
                <a:solidFill>
                  <a:schemeClr val="bg1"/>
                </a:solidFill>
                <a:latin typeface="楷体" pitchFamily="49" charset="-122"/>
                <a:ea typeface="楷体" pitchFamily="49" charset="-122"/>
              </a:endParaRPr>
            </a:p>
          </p:txBody>
        </p:sp>
      </p:grpSp>
      <p:grpSp>
        <p:nvGrpSpPr>
          <p:cNvPr id="22" name="组合 11"/>
          <p:cNvGrpSpPr>
            <a:grpSpLocks/>
          </p:cNvGrpSpPr>
          <p:nvPr/>
        </p:nvGrpSpPr>
        <p:grpSpPr bwMode="auto">
          <a:xfrm>
            <a:off x="0" y="2916546"/>
            <a:ext cx="5962650" cy="1506538"/>
            <a:chOff x="0" y="0"/>
            <a:chExt cx="4415055" cy="1505822"/>
          </a:xfrm>
        </p:grpSpPr>
        <p:pic>
          <p:nvPicPr>
            <p:cNvPr id="23" name="图片 1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251493">
              <a:off x="0" y="0"/>
              <a:ext cx="4415055" cy="1505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文本框 14"/>
            <p:cNvSpPr txBox="1">
              <a:spLocks noChangeArrowheads="1"/>
            </p:cNvSpPr>
            <p:nvPr/>
          </p:nvSpPr>
          <p:spPr bwMode="auto">
            <a:xfrm>
              <a:off x="319730" y="433266"/>
              <a:ext cx="2444123" cy="584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3200" smtClean="0">
                  <a:solidFill>
                    <a:schemeClr val="bg1"/>
                  </a:solidFill>
                  <a:latin typeface="楷体" pitchFamily="49" charset="-122"/>
                  <a:ea typeface="楷体" pitchFamily="49" charset="-122"/>
                </a:rPr>
                <a:t>学有所获</a:t>
              </a:r>
              <a:endParaRPr lang="zh-CN" altLang="en-US" sz="3200">
                <a:solidFill>
                  <a:schemeClr val="bg1"/>
                </a:solidFill>
                <a:latin typeface="楷体" pitchFamily="49" charset="-122"/>
                <a:ea typeface="楷体" pitchFamily="49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标题 1"/>
          <p:cNvSpPr>
            <a:spLocks noGrp="1"/>
          </p:cNvSpPr>
          <p:nvPr>
            <p:ph type="title"/>
          </p:nvPr>
        </p:nvSpPr>
        <p:spPr bwMode="auto">
          <a:xfrm>
            <a:off x="237506" y="86916"/>
            <a:ext cx="8449294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CN" sz="2400" smtClean="0">
                <a:latin typeface="方正粗宋简体" pitchFamily="65" charset="-122"/>
                <a:ea typeface="方正粗宋简体" pitchFamily="65" charset="-122"/>
              </a:rPr>
              <a:t>  </a:t>
            </a:r>
            <a:r>
              <a:rPr lang="en-US" altLang="zh-CN" sz="2400" dirty="0" smtClean="0">
                <a:latin typeface="黑体" pitchFamily="49" charset="-122"/>
                <a:ea typeface="黑体" pitchFamily="49" charset="-122"/>
              </a:rPr>
              <a:t>2018</a:t>
            </a:r>
            <a:r>
              <a:rPr lang="zh-CN" altLang="en-US" sz="2400" dirty="0" smtClean="0">
                <a:latin typeface="黑体" pitchFamily="49" charset="-122"/>
                <a:ea typeface="黑体" pitchFamily="49" charset="-122"/>
              </a:rPr>
              <a:t>年“仪征技师学院骨干教师能力提升培训班学习”汇报</a:t>
            </a:r>
          </a:p>
        </p:txBody>
      </p:sp>
      <p:sp>
        <p:nvSpPr>
          <p:cNvPr id="4" name="圆角矩形 3"/>
          <p:cNvSpPr/>
          <p:nvPr/>
        </p:nvSpPr>
        <p:spPr>
          <a:xfrm>
            <a:off x="1598614" y="962025"/>
            <a:ext cx="5102225" cy="739379"/>
          </a:xfrm>
          <a:prstGeom prst="roundRect">
            <a:avLst>
              <a:gd name="adj" fmla="val 6415"/>
            </a:avLst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0" scaled="1"/>
            <a:tileRect/>
          </a:gradFill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825500" y="1169194"/>
            <a:ext cx="1096963" cy="822722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1598614" y="2243137"/>
            <a:ext cx="5102225" cy="739379"/>
          </a:xfrm>
          <a:prstGeom prst="roundRect">
            <a:avLst>
              <a:gd name="adj" fmla="val 6415"/>
            </a:avLst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0" scaled="1"/>
            <a:tileRect/>
          </a:gradFill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7" name="椭圆 6"/>
          <p:cNvSpPr/>
          <p:nvPr/>
        </p:nvSpPr>
        <p:spPr>
          <a:xfrm>
            <a:off x="825500" y="2450307"/>
            <a:ext cx="1096963" cy="822722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598614" y="3506391"/>
            <a:ext cx="5102225" cy="739378"/>
          </a:xfrm>
          <a:prstGeom prst="roundRect">
            <a:avLst>
              <a:gd name="adj" fmla="val 6415"/>
            </a:avLst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0" scaled="1"/>
            <a:tileRect/>
          </a:gradFill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825500" y="3713560"/>
            <a:ext cx="1096963" cy="822722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82664" y="1192890"/>
            <a:ext cx="847725" cy="9048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6600" b="1" kern="0" dirty="0">
                <a:solidFill>
                  <a:srgbClr val="007033"/>
                </a:solidFill>
                <a:latin typeface="Arial Rounded MT Bold" pitchFamily="34" charset="0"/>
                <a:ea typeface="Gungsuh" pitchFamily="18" charset="-127"/>
              </a:rPr>
              <a:t>A</a:t>
            </a:r>
            <a:endParaRPr lang="zh-CN" altLang="en-US" sz="6600" b="1" kern="0" dirty="0">
              <a:solidFill>
                <a:srgbClr val="007033"/>
              </a:solidFill>
              <a:latin typeface="Arial Rounded MT Bold" pitchFamily="34" charset="0"/>
              <a:ea typeface="Gungsuh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82664" y="2501057"/>
            <a:ext cx="847725" cy="9048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6600" b="1" kern="0" dirty="0">
                <a:solidFill>
                  <a:srgbClr val="007033"/>
                </a:solidFill>
                <a:latin typeface="Arial Rounded MT Bold" pitchFamily="34" charset="0"/>
                <a:ea typeface="Gungsuh" pitchFamily="18" charset="-127"/>
              </a:rPr>
              <a:t>B</a:t>
            </a:r>
            <a:endParaRPr lang="zh-CN" altLang="en-US" sz="6600" b="1" kern="0" dirty="0">
              <a:solidFill>
                <a:srgbClr val="007033"/>
              </a:solidFill>
              <a:latin typeface="Arial Rounded MT Bold" pitchFamily="34" charset="0"/>
              <a:ea typeface="Gungsuh" pitchFamily="18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82664" y="3776216"/>
            <a:ext cx="847725" cy="9048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6600" b="1" kern="0" dirty="0">
                <a:solidFill>
                  <a:srgbClr val="007033"/>
                </a:solidFill>
                <a:latin typeface="Arial Rounded MT Bold" pitchFamily="34" charset="0"/>
                <a:ea typeface="Gungsuh" pitchFamily="18" charset="-127"/>
              </a:rPr>
              <a:t>C</a:t>
            </a:r>
            <a:endParaRPr lang="zh-CN" altLang="en-US" sz="6600" b="1" kern="0" dirty="0">
              <a:solidFill>
                <a:srgbClr val="007033"/>
              </a:solidFill>
              <a:latin typeface="Arial Rounded MT Bold" pitchFamily="34" charset="0"/>
              <a:ea typeface="Gungsuh" pitchFamily="18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03550" y="1103835"/>
            <a:ext cx="2497138" cy="535531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600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概况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003551" y="2385543"/>
            <a:ext cx="2633663" cy="535531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600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过程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003551" y="3648796"/>
            <a:ext cx="2633663" cy="535531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600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收获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 bwMode="auto">
          <a:xfrm>
            <a:off x="427512" y="1401289"/>
            <a:ext cx="7956467" cy="24819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en-US" altLang="zh-CN" sz="2400" b="1" i="0" u="none" strike="noStrike" cap="none" normalizeH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ea typeface="宋体" pitchFamily="2" charset="-122"/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r>
              <a:rPr kumimoji="0" lang="zh-CN" altLang="en-US" sz="28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ea typeface="宋体" pitchFamily="2" charset="-122"/>
              </a:rPr>
              <a:t>信仰是伟大的情感，更是一种创造的力量。</a:t>
            </a:r>
            <a:endParaRPr kumimoji="0" lang="en-US" altLang="zh-CN" sz="2800" b="1" i="0" u="none" strike="noStrike" cap="none" normalizeH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ea typeface="宋体" pitchFamily="2" charset="-122"/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lang="en-US" altLang="zh-CN" sz="2800" b="1" dirty="0" smtClean="0">
              <a:solidFill>
                <a:srgbClr val="FF0000"/>
              </a:solidFill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lang="en-US" altLang="zh-CN" sz="2800" b="1" dirty="0" smtClean="0">
              <a:solidFill>
                <a:srgbClr val="FF0000"/>
              </a:solidFill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r>
              <a:rPr lang="en-US" altLang="zh-CN" sz="2800" b="1" dirty="0" smtClean="0"/>
              <a:t>                                                        </a:t>
            </a:r>
            <a:r>
              <a:rPr lang="en-US" altLang="zh-CN" sz="2800" b="1" dirty="0" smtClean="0">
                <a:solidFill>
                  <a:srgbClr val="FF0000"/>
                </a:solidFill>
              </a:rPr>
              <a:t>——</a:t>
            </a:r>
            <a:r>
              <a:rPr lang="zh-CN" altLang="en-US" sz="2800" b="1" dirty="0" smtClean="0">
                <a:solidFill>
                  <a:srgbClr val="FF0000"/>
                </a:solidFill>
              </a:rPr>
              <a:t>高尔基</a:t>
            </a:r>
            <a:endParaRPr kumimoji="0" lang="zh-CN" altLang="en-US" sz="2800" b="1" i="0" u="none" strike="noStrike" cap="none" normalizeH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ea typeface="宋体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728007" y="1789825"/>
            <a:ext cx="3860080" cy="1176655"/>
          </a:xfrm>
          <a:prstGeom prst="rect">
            <a:avLst/>
          </a:prstGeom>
          <a:noFill/>
        </p:spPr>
        <p:txBody>
          <a:bodyPr wrap="none">
            <a:prstTxWarp prst="textPlain">
              <a:avLst/>
            </a:prstTxWarp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5400" b="1" cap="all" dirty="0">
                <a:ln w="0"/>
                <a:solidFill>
                  <a:srgbClr val="0070C0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latin typeface="德彪钢笔行书字库" pitchFamily="50" charset="-122"/>
                <a:ea typeface="德彪钢笔行书字库" pitchFamily="50" charset="-122"/>
              </a:rPr>
              <a:t>谢 谢！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2489" y="2169319"/>
            <a:ext cx="6010275" cy="2393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标题 1"/>
          <p:cNvSpPr>
            <a:spLocks noGrp="1"/>
          </p:cNvSpPr>
          <p:nvPr>
            <p:ph type="title"/>
          </p:nvPr>
        </p:nvSpPr>
        <p:spPr bwMode="auto">
          <a:xfrm>
            <a:off x="0" y="127591"/>
            <a:ext cx="9143999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CN" sz="2400" smtClean="0">
                <a:latin typeface="方正粗宋简体" pitchFamily="65" charset="-122"/>
                <a:ea typeface="方正粗宋简体" pitchFamily="65" charset="-122"/>
              </a:rPr>
              <a:t>    </a:t>
            </a:r>
            <a:r>
              <a:rPr lang="en-US" altLang="zh-CN" sz="2400" smtClean="0">
                <a:latin typeface="黑体" pitchFamily="49" charset="-122"/>
                <a:ea typeface="黑体" pitchFamily="49" charset="-122"/>
              </a:rPr>
              <a:t>2018</a:t>
            </a:r>
            <a:r>
              <a:rPr lang="zh-CN" altLang="en-US" sz="2400" dirty="0" smtClean="0">
                <a:latin typeface="黑体" pitchFamily="49" charset="-122"/>
                <a:ea typeface="黑体" pitchFamily="49" charset="-122"/>
              </a:rPr>
              <a:t>年“仪征技师学院骨干教师能力提升培训班学习”汇报</a:t>
            </a:r>
          </a:p>
        </p:txBody>
      </p:sp>
      <p:sp>
        <p:nvSpPr>
          <p:cNvPr id="4" name="圆角矩形 3"/>
          <p:cNvSpPr/>
          <p:nvPr/>
        </p:nvSpPr>
        <p:spPr>
          <a:xfrm>
            <a:off x="1598614" y="962025"/>
            <a:ext cx="5102225" cy="739379"/>
          </a:xfrm>
          <a:prstGeom prst="roundRect">
            <a:avLst>
              <a:gd name="adj" fmla="val 6415"/>
            </a:avLst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0" scaled="1"/>
            <a:tileRect/>
          </a:gradFill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825500" y="1169194"/>
            <a:ext cx="1096963" cy="822722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82664" y="1182257"/>
            <a:ext cx="847725" cy="9048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6600" b="1" kern="0" dirty="0">
                <a:solidFill>
                  <a:srgbClr val="007033"/>
                </a:solidFill>
                <a:latin typeface="Arial Rounded MT Bold" pitchFamily="34" charset="0"/>
                <a:ea typeface="Gungsuh" pitchFamily="18" charset="-127"/>
              </a:rPr>
              <a:t>A</a:t>
            </a:r>
            <a:endParaRPr lang="zh-CN" altLang="en-US" sz="6600" b="1" kern="0" dirty="0">
              <a:solidFill>
                <a:srgbClr val="007033"/>
              </a:solidFill>
              <a:latin typeface="Arial Rounded MT Bold" pitchFamily="34" charset="0"/>
              <a:ea typeface="Gungsuh" pitchFamily="18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03550" y="1103835"/>
            <a:ext cx="2497138" cy="535531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600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概况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smtClean="0">
                <a:latin typeface="+mn-ea"/>
                <a:ea typeface="+mn-ea"/>
              </a:rPr>
              <a:t>培训概况</a:t>
            </a:r>
            <a:endParaRPr lang="zh-CN" altLang="en-US" sz="2800" dirty="0" smtClean="0">
              <a:latin typeface="+mn-ea"/>
              <a:ea typeface="+mn-ea"/>
            </a:endParaRPr>
          </a:p>
        </p:txBody>
      </p:sp>
      <p:sp>
        <p:nvSpPr>
          <p:cNvPr id="7171" name="内容占位符 2"/>
          <p:cNvSpPr>
            <a:spLocks noGrp="1"/>
          </p:cNvSpPr>
          <p:nvPr>
            <p:ph idx="1"/>
          </p:nvPr>
        </p:nvSpPr>
        <p:spPr bwMode="auto">
          <a:xfrm>
            <a:off x="250825" y="681038"/>
            <a:ext cx="5341901" cy="391358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>
              <a:buFontTx/>
              <a:buNone/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                                                                          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FontTx/>
              <a:buNone/>
            </a:pP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FontTx/>
              <a:buNone/>
            </a:pP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FontTx/>
              <a:buNone/>
            </a:pP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                  </a:t>
            </a:r>
            <a:endParaRPr lang="zh-CN" altLang="en-US" sz="20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6"/>
          <p:cNvSpPr/>
          <p:nvPr/>
        </p:nvSpPr>
        <p:spPr bwMode="auto">
          <a:xfrm>
            <a:off x="5662182" y="983582"/>
            <a:ext cx="3481818" cy="3827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zh-CN" altLang="en-US" sz="2000" b="1" smtClean="0">
                <a:latin typeface="楷体" pitchFamily="49" charset="-122"/>
                <a:ea typeface="楷体" pitchFamily="49" charset="-122"/>
              </a:rPr>
              <a:t>培训地点：安徽 合肥</a:t>
            </a:r>
            <a:endParaRPr lang="en-US" altLang="zh-CN" sz="2000" b="1" dirty="0" smtClean="0">
              <a:latin typeface="楷体" pitchFamily="49" charset="-122"/>
              <a:ea typeface="楷体" pitchFamily="49" charset="-122"/>
            </a:endParaRPr>
          </a:p>
          <a:p>
            <a:endParaRPr lang="en-US" altLang="zh-CN" sz="2000" b="1" dirty="0" smtClean="0"/>
          </a:p>
          <a:p>
            <a:r>
              <a:rPr lang="zh-CN" altLang="en-US" sz="2000" b="1" smtClean="0">
                <a:latin typeface="楷体" pitchFamily="49" charset="-122"/>
                <a:ea typeface="楷体" pitchFamily="49" charset="-122"/>
              </a:rPr>
              <a:t>概况：</a:t>
            </a:r>
            <a:endParaRPr lang="en-US" altLang="zh-CN" sz="2000" b="1" dirty="0" smtClean="0">
              <a:latin typeface="楷体" pitchFamily="49" charset="-122"/>
              <a:ea typeface="楷体" pitchFamily="49" charset="-122"/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en-US" altLang="zh-CN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en-US" altLang="zh-CN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zh-CN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5720316" y="659219"/>
            <a:ext cx="3264196" cy="39021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zh-CN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24394"/>
            <a:ext cx="5554285" cy="3441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矩形 8"/>
          <p:cNvSpPr/>
          <p:nvPr/>
        </p:nvSpPr>
        <p:spPr>
          <a:xfrm>
            <a:off x="5700155" y="2030680"/>
            <a:ext cx="344384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800" dirty="0" smtClean="0">
                <a:latin typeface="楷体" pitchFamily="49" charset="-122"/>
                <a:ea typeface="楷体" pitchFamily="49" charset="-122"/>
              </a:rPr>
              <a:t>合肥，简称泸古称泸州，面积约为</a:t>
            </a:r>
            <a:r>
              <a:rPr lang="en-US" altLang="zh-CN" sz="1800" dirty="0" smtClean="0">
                <a:latin typeface="楷体" pitchFamily="49" charset="-122"/>
                <a:ea typeface="楷体" pitchFamily="49" charset="-122"/>
              </a:rPr>
              <a:t>1.14</a:t>
            </a:r>
            <a:r>
              <a:rPr lang="zh-CN" altLang="en-US" sz="1800" dirty="0" smtClean="0">
                <a:latin typeface="楷体" pitchFamily="49" charset="-122"/>
                <a:ea typeface="楷体" pitchFamily="49" charset="-122"/>
              </a:rPr>
              <a:t>万平方公里，人口约</a:t>
            </a:r>
            <a:r>
              <a:rPr lang="en-US" altLang="zh-CN" sz="1800" dirty="0" smtClean="0">
                <a:latin typeface="楷体" pitchFamily="49" charset="-122"/>
                <a:ea typeface="楷体" pitchFamily="49" charset="-122"/>
              </a:rPr>
              <a:t>757</a:t>
            </a:r>
            <a:r>
              <a:rPr lang="zh-CN" altLang="en-US" sz="1800" dirty="0" smtClean="0">
                <a:latin typeface="楷体" pitchFamily="49" charset="-122"/>
                <a:ea typeface="楷体" pitchFamily="49" charset="-122"/>
              </a:rPr>
              <a:t>万。皖江城市带核心城市，国家重要的教育科研基地，现代制造业基地和综合交通枢纽。地处中国华东地区、江淮之间，环抱巢湖，因东淝河与南淝河均发源于该地而得名。有“江南唇齿，淮右襟喉”之称是兵家必争之地。</a:t>
            </a:r>
            <a:endParaRPr lang="zh-CN" altLang="en-US" sz="1800" dirty="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b="0" smtClean="0">
                <a:latin typeface="方正粗宋简体" pitchFamily="65" charset="-122"/>
                <a:ea typeface="方正粗宋简体" pitchFamily="65" charset="-122"/>
              </a:rPr>
              <a:t>  </a:t>
            </a:r>
            <a:r>
              <a:rPr lang="zh-CN" altLang="en-US" sz="2800" smtClean="0">
                <a:latin typeface="黑体" pitchFamily="49" charset="-122"/>
                <a:ea typeface="黑体" pitchFamily="49" charset="-122"/>
              </a:rPr>
              <a:t> 历史人物</a:t>
            </a:r>
            <a:endParaRPr lang="zh-CN" altLang="en-US" sz="2800" dirty="0" smtClean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171" name="内容占位符 2"/>
          <p:cNvSpPr>
            <a:spLocks noGrp="1"/>
          </p:cNvSpPr>
          <p:nvPr>
            <p:ph idx="1"/>
          </p:nvPr>
        </p:nvSpPr>
        <p:spPr bwMode="auto">
          <a:xfrm>
            <a:off x="1367244" y="1148316"/>
            <a:ext cx="5682142" cy="3435674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>
              <a:buFontTx/>
              <a:buNone/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                                                                          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FontTx/>
              <a:buNone/>
            </a:pP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FontTx/>
              <a:buNone/>
            </a:pP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FontTx/>
              <a:buNone/>
            </a:pP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                  </a:t>
            </a:r>
            <a:endParaRPr lang="zh-CN" altLang="en-US" sz="20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6"/>
          <p:cNvSpPr/>
          <p:nvPr/>
        </p:nvSpPr>
        <p:spPr bwMode="auto">
          <a:xfrm>
            <a:off x="329608" y="637955"/>
            <a:ext cx="3242931" cy="3827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13">
              <a:lnSpc>
                <a:spcPct val="95000"/>
              </a:lnSpc>
              <a:tabLst>
                <a:tab pos="368300" algn="l"/>
              </a:tabLst>
            </a:pPr>
            <a:endParaRPr lang="en-US" altLang="zh-CN" sz="2000" b="1" dirty="0" smtClean="0"/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en-US" altLang="zh-CN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en-US" altLang="zh-CN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zh-CN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5720316" y="659219"/>
            <a:ext cx="3264196" cy="39021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zh-CN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pic>
        <p:nvPicPr>
          <p:cNvPr id="24578" name="Picture 2" descr="https://ss2.baidu.com/6ONYsjip0QIZ8tyhnq/it/u=2614699010,1033968037&amp;fm=173&amp;app=49&amp;f=JPEG?w=420&amp;h=255&amp;s=ED2B83541E1333D0153B6BA70300700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379" y="518899"/>
            <a:ext cx="3847605" cy="2336046"/>
          </a:xfrm>
          <a:prstGeom prst="rect">
            <a:avLst/>
          </a:prstGeom>
          <a:noFill/>
        </p:spPr>
      </p:pic>
      <p:pic>
        <p:nvPicPr>
          <p:cNvPr id="24582" name="Picture 6" descr="https://timgsa.baidu.com/timg?image&amp;quality=80&amp;size=b9999_10000&amp;sec=1555777663574&amp;di=f022c46e077377834733e04415b64de6&amp;imgtype=0&amp;src=http%3A%2F%2Fs10.sinaimg.cn%2Fbmiddle%2F001kCqCNgy6OSbziEWZa9%2669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76312" y="478879"/>
            <a:ext cx="3763281" cy="2383074"/>
          </a:xfrm>
          <a:prstGeom prst="rect">
            <a:avLst/>
          </a:prstGeom>
          <a:noFill/>
        </p:spPr>
      </p:pic>
      <p:pic>
        <p:nvPicPr>
          <p:cNvPr id="24584" name="Picture 8" descr="https://ss3.bdstatic.com/70cFv8Sh_Q1YnxGkpoWK1HF6hhy/it/u=3768663479,3461558252&amp;fm=26&amp;gp=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95056" y="2844389"/>
            <a:ext cx="3716976" cy="1887999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7876" y="891779"/>
            <a:ext cx="6086475" cy="3707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7" name="标题 1"/>
          <p:cNvSpPr>
            <a:spLocks noGrp="1"/>
          </p:cNvSpPr>
          <p:nvPr>
            <p:ph type="title"/>
          </p:nvPr>
        </p:nvSpPr>
        <p:spPr bwMode="auto">
          <a:xfrm>
            <a:off x="-1" y="86916"/>
            <a:ext cx="9334005" cy="542476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CN" sz="2400" smtClean="0">
                <a:latin typeface="黑体" pitchFamily="49" charset="-122"/>
                <a:ea typeface="黑体" pitchFamily="49" charset="-122"/>
              </a:rPr>
              <a:t>   2018</a:t>
            </a:r>
            <a:r>
              <a:rPr lang="zh-CN" altLang="en-US" sz="2400" smtClean="0">
                <a:latin typeface="黑体" pitchFamily="49" charset="-122"/>
                <a:ea typeface="黑体" pitchFamily="49" charset="-122"/>
              </a:rPr>
              <a:t>年“仪征技师学院骨干教师能力提升培训班学习”汇报</a:t>
            </a:r>
            <a:endParaRPr lang="zh-CN" altLang="en-US" sz="2400" dirty="0" smtClean="0"/>
          </a:p>
        </p:txBody>
      </p:sp>
      <p:sp>
        <p:nvSpPr>
          <p:cNvPr id="6" name="圆角矩形 5"/>
          <p:cNvSpPr/>
          <p:nvPr/>
        </p:nvSpPr>
        <p:spPr>
          <a:xfrm>
            <a:off x="1598614" y="2243137"/>
            <a:ext cx="5102225" cy="739379"/>
          </a:xfrm>
          <a:prstGeom prst="roundRect">
            <a:avLst>
              <a:gd name="adj" fmla="val 6415"/>
            </a:avLst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0" scaled="1"/>
            <a:tileRect/>
          </a:gradFill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7" name="椭圆 6"/>
          <p:cNvSpPr/>
          <p:nvPr/>
        </p:nvSpPr>
        <p:spPr>
          <a:xfrm>
            <a:off x="825500" y="2450307"/>
            <a:ext cx="1096963" cy="822722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82664" y="2490424"/>
            <a:ext cx="847725" cy="9048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6600" b="1" kern="0" dirty="0">
                <a:solidFill>
                  <a:srgbClr val="007033"/>
                </a:solidFill>
                <a:latin typeface="Arial Rounded MT Bold" pitchFamily="34" charset="0"/>
                <a:ea typeface="Gungsuh" pitchFamily="18" charset="-127"/>
              </a:rPr>
              <a:t>B</a:t>
            </a:r>
            <a:endParaRPr lang="zh-CN" altLang="en-US" sz="6600" b="1" kern="0" dirty="0">
              <a:solidFill>
                <a:srgbClr val="007033"/>
              </a:solidFill>
              <a:latin typeface="Arial Rounded MT Bold" pitchFamily="34" charset="0"/>
              <a:ea typeface="Gungsuh" pitchFamily="18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003551" y="2385543"/>
            <a:ext cx="2633663" cy="535531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600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过程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smtClean="0">
                <a:latin typeface="黑体" pitchFamily="49" charset="-122"/>
                <a:ea typeface="黑体" pitchFamily="49" charset="-122"/>
              </a:rPr>
              <a:t>培</a:t>
            </a:r>
            <a:r>
              <a:rPr lang="zh-CN" altLang="en-US" sz="2800" dirty="0" smtClean="0">
                <a:latin typeface="黑体" pitchFamily="49" charset="-122"/>
                <a:ea typeface="黑体" pitchFamily="49" charset="-122"/>
              </a:rPr>
              <a:t>训</a:t>
            </a:r>
            <a:r>
              <a:rPr lang="zh-CN" altLang="en-US" sz="2800" smtClean="0">
                <a:latin typeface="黑体" pitchFamily="49" charset="-122"/>
                <a:ea typeface="黑体" pitchFamily="49" charset="-122"/>
              </a:rPr>
              <a:t>课程</a:t>
            </a:r>
            <a:endParaRPr lang="zh-CN" altLang="en-US" dirty="0" smtClean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8" name="内容占位符 2"/>
          <p:cNvSpPr txBox="1">
            <a:spLocks/>
          </p:cNvSpPr>
          <p:nvPr/>
        </p:nvSpPr>
        <p:spPr>
          <a:xfrm>
            <a:off x="250825" y="681038"/>
            <a:ext cx="8642350" cy="3913585"/>
          </a:xfrm>
          <a:prstGeom prst="rect">
            <a:avLst/>
          </a:prstGeom>
        </p:spPr>
        <p:txBody>
          <a:bodyPr/>
          <a:lstStyle>
            <a:lvl1pPr marL="342900" indent="-342900" algn="l" defTabSz="912813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638" indent="-146050" algn="l" defTabSz="912813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301625" indent="-152400" algn="l" defTabSz="912813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441325" indent="-138113" algn="l" defTabSz="912813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593725" indent="-150813" algn="l" defTabSz="912813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050925" indent="-150813" algn="l" defTabSz="912813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508125" indent="-150813" algn="l" defTabSz="912813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1965325" indent="-150813" algn="l" defTabSz="912813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422525" indent="-150813" algn="l" defTabSz="912813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zh-CN" altLang="en-US" sz="2000" kern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2000" kern="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FontTx/>
              <a:buNone/>
              <a:defRPr/>
            </a:pPr>
            <a:r>
              <a:rPr lang="zh-CN" altLang="en-US" sz="2400" kern="0" dirty="0" smtClean="0">
                <a:latin typeface="楷体" pitchFamily="49" charset="-122"/>
                <a:ea typeface="楷体" pitchFamily="49" charset="-122"/>
              </a:rPr>
              <a:t>培训课表</a:t>
            </a:r>
            <a:endParaRPr lang="zh-CN" altLang="en-US" sz="2400" kern="0" dirty="0">
              <a:latin typeface="楷体" pitchFamily="49" charset="-122"/>
              <a:ea typeface="楷体" pitchFamily="49" charset="-122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21922" y="553679"/>
            <a:ext cx="6329547" cy="4125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smtClean="0">
                <a:latin typeface="黑体" pitchFamily="49" charset="-122"/>
                <a:ea typeface="黑体" pitchFamily="49" charset="-122"/>
              </a:rPr>
              <a:t>专家风采</a:t>
            </a:r>
            <a:endParaRPr lang="zh-CN" altLang="en-US" dirty="0" smtClean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5581403" y="434829"/>
            <a:ext cx="3562597" cy="38702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altLang="zh-CN" sz="2000" dirty="0" smtClean="0"/>
          </a:p>
          <a:p>
            <a:endParaRPr lang="en-US" altLang="zh-CN" sz="2000" dirty="0" smtClean="0"/>
          </a:p>
          <a:p>
            <a:r>
              <a:rPr lang="zh-CN" altLang="en-US" sz="2400" b="1" smtClean="0">
                <a:latin typeface="楷体" pitchFamily="49" charset="-122"/>
                <a:ea typeface="楷体" pitchFamily="49" charset="-122"/>
              </a:rPr>
              <a:t>孙 玉</a:t>
            </a:r>
            <a:endParaRPr lang="en-US" altLang="zh-CN" sz="2400" b="1" smtClean="0">
              <a:latin typeface="楷体" pitchFamily="49" charset="-122"/>
              <a:ea typeface="楷体" pitchFamily="49" charset="-122"/>
            </a:endParaRPr>
          </a:p>
          <a:p>
            <a:endParaRPr lang="en-US" altLang="zh-CN" sz="2400" smtClean="0">
              <a:latin typeface="楷体" pitchFamily="49" charset="-122"/>
              <a:ea typeface="楷体" pitchFamily="49" charset="-122"/>
            </a:endParaRPr>
          </a:p>
          <a:p>
            <a:r>
              <a:rPr lang="zh-CN" altLang="zh-CN" sz="2400" smtClean="0">
                <a:latin typeface="楷体" pitchFamily="49" charset="-122"/>
                <a:ea typeface="楷体" pitchFamily="49" charset="-122"/>
              </a:rPr>
              <a:t>合肥幼儿师范专科学校教务科处处长</a:t>
            </a:r>
            <a:r>
              <a:rPr lang="en-US" altLang="zh-CN" sz="2400" smtClean="0">
                <a:latin typeface="楷体" pitchFamily="49" charset="-122"/>
                <a:ea typeface="楷体" pitchFamily="49" charset="-122"/>
              </a:rPr>
              <a:t> </a:t>
            </a:r>
            <a:r>
              <a:rPr lang="zh-CN" altLang="en-US" sz="2400" smtClean="0">
                <a:latin typeface="楷体" pitchFamily="49" charset="-122"/>
                <a:ea typeface="楷体" pitchFamily="49" charset="-122"/>
              </a:rPr>
              <a:t>教授</a:t>
            </a:r>
            <a:r>
              <a:rPr lang="zh-CN" altLang="zh-CN" sz="2400" smtClean="0">
                <a:latin typeface="楷体" pitchFamily="49" charset="-122"/>
                <a:ea typeface="楷体" pitchFamily="49" charset="-122"/>
              </a:rPr>
              <a:t>。曾多次在国家、省教学成果中荣获大奖</a:t>
            </a:r>
            <a:r>
              <a:rPr lang="zh-CN" altLang="en-US" sz="2400" smtClean="0">
                <a:latin typeface="楷体" pitchFamily="49" charset="-122"/>
                <a:ea typeface="楷体" pitchFamily="49" charset="-122"/>
              </a:rPr>
              <a:t>。</a:t>
            </a:r>
            <a:endParaRPr lang="zh-CN" altLang="zh-CN" sz="2400" smtClean="0">
              <a:latin typeface="楷体" pitchFamily="49" charset="-122"/>
              <a:ea typeface="楷体" pitchFamily="49" charset="-122"/>
            </a:endParaRPr>
          </a:p>
          <a:p>
            <a:endParaRPr lang="en-US" altLang="zh-CN" sz="2000" dirty="0" smtClean="0">
              <a:latin typeface="楷体" pitchFamily="49" charset="-122"/>
              <a:ea typeface="楷体" pitchFamily="49" charset="-122"/>
            </a:endParaRPr>
          </a:p>
          <a:p>
            <a:endParaRPr lang="en-US" altLang="zh-CN" sz="2000" dirty="0" smtClean="0"/>
          </a:p>
          <a:p>
            <a:pPr lvl="1"/>
            <a:endParaRPr lang="zh-CN" altLang="zh-CN" sz="2000" dirty="0" smtClean="0"/>
          </a:p>
          <a:p>
            <a:pPr defTabSz="912813">
              <a:lnSpc>
                <a:spcPct val="95000"/>
              </a:lnSpc>
              <a:tabLst>
                <a:tab pos="368300" algn="l"/>
              </a:tabLst>
            </a:pPr>
            <a:endParaRPr kumimoji="0" lang="zh-CN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pic>
        <p:nvPicPr>
          <p:cNvPr id="12289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35783"/>
            <a:ext cx="5545777" cy="369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标题 1"/>
          <p:cNvSpPr>
            <a:spLocks noGrp="1"/>
          </p:cNvSpPr>
          <p:nvPr>
            <p:ph type="title"/>
          </p:nvPr>
        </p:nvSpPr>
        <p:spPr bwMode="auto">
          <a:xfrm>
            <a:off x="457200" y="86916"/>
            <a:ext cx="8229600" cy="43219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zh-CN" altLang="en-US" sz="2800" smtClean="0">
                <a:latin typeface="黑体" pitchFamily="49" charset="-122"/>
                <a:ea typeface="黑体" pitchFamily="49" charset="-122"/>
              </a:rPr>
              <a:t>专家风采</a:t>
            </a:r>
            <a:endParaRPr lang="zh-CN" altLang="en-US" dirty="0" smtClean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4444409" y="744279"/>
            <a:ext cx="4455042" cy="36894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8300" algn="l"/>
              </a:tabLst>
            </a:pPr>
            <a:endParaRPr kumimoji="0" lang="zh-CN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300399" y="985652"/>
            <a:ext cx="3689222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dirty="0" smtClean="0"/>
          </a:p>
          <a:p>
            <a:r>
              <a:rPr lang="zh-CN" altLang="zh-CN" sz="2400" b="1" smtClean="0">
                <a:latin typeface="楷体" pitchFamily="49" charset="-122"/>
                <a:ea typeface="楷体" pitchFamily="49" charset="-122"/>
              </a:rPr>
              <a:t>谷小城</a:t>
            </a:r>
            <a:r>
              <a:rPr lang="en-US" altLang="zh-CN" sz="2400" b="1" smtClean="0">
                <a:latin typeface="楷体" pitchFamily="49" charset="-122"/>
                <a:ea typeface="楷体" pitchFamily="49" charset="-122"/>
              </a:rPr>
              <a:t> </a:t>
            </a:r>
          </a:p>
          <a:p>
            <a:endParaRPr lang="en-US" altLang="zh-CN" sz="2400" smtClean="0">
              <a:latin typeface="楷体" pitchFamily="49" charset="-122"/>
              <a:ea typeface="楷体" pitchFamily="49" charset="-122"/>
            </a:endParaRPr>
          </a:p>
          <a:p>
            <a:r>
              <a:rPr lang="zh-CN" altLang="zh-CN" sz="2400" smtClean="0">
                <a:latin typeface="楷体" pitchFamily="49" charset="-122"/>
                <a:ea typeface="楷体" pitchFamily="49" charset="-122"/>
              </a:rPr>
              <a:t>安徽省教育信息化专家组副秘书长，安徽工商职业学院</a:t>
            </a:r>
            <a:r>
              <a:rPr lang="zh-CN" altLang="en-US" sz="2400" smtClean="0">
                <a:latin typeface="楷体" pitchFamily="49" charset="-122"/>
                <a:ea typeface="楷体" pitchFamily="49" charset="-122"/>
              </a:rPr>
              <a:t>副</a:t>
            </a:r>
            <a:r>
              <a:rPr lang="zh-CN" altLang="zh-CN" sz="2400" smtClean="0">
                <a:latin typeface="楷体" pitchFamily="49" charset="-122"/>
                <a:ea typeface="楷体" pitchFamily="49" charset="-122"/>
              </a:rPr>
              <a:t>教授</a:t>
            </a:r>
            <a:r>
              <a:rPr lang="en-US" altLang="zh-CN" sz="2400" smtClean="0">
                <a:latin typeface="楷体" pitchFamily="49" charset="-122"/>
                <a:ea typeface="楷体" pitchFamily="49" charset="-122"/>
              </a:rPr>
              <a:t>,2016</a:t>
            </a:r>
            <a:r>
              <a:rPr lang="zh-CN" altLang="zh-CN" sz="2400" smtClean="0">
                <a:latin typeface="楷体" pitchFamily="49" charset="-122"/>
                <a:ea typeface="楷体" pitchFamily="49" charset="-122"/>
              </a:rPr>
              <a:t>年安徽省信息化大赛教学设计一等奖。</a:t>
            </a:r>
            <a:endParaRPr lang="en-US" altLang="zh-CN" sz="2400" dirty="0" smtClean="0">
              <a:latin typeface="楷体" pitchFamily="49" charset="-122"/>
              <a:ea typeface="楷体" pitchFamily="49" charset="-122"/>
            </a:endParaRPr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zh-CN" altLang="en-US" dirty="0"/>
          </a:p>
        </p:txBody>
      </p:sp>
      <p:pic>
        <p:nvPicPr>
          <p:cNvPr id="11265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07522"/>
            <a:ext cx="5234729" cy="3489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EolJyVuUOp3WTRLgSV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l7TOOPX0qDJc9zc97o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u8jeTjT0irmHxRGTo7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bp2u4ukUqvr_5XV4MH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Vqg6vntk2Os8IIILUa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f_7CnGfkK8YsN9Tluj.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yw3OGuUmVWbJTDg1P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VKO6w0KEeHmBuXhMDT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.yEzFrRk.SEaNnfsW8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oUu_A3ZUq4vE_zHyDw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0aUCb8e0ClsZ6fTD1Y8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CP2Zw25Em6KnRqniN1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S2.oKwSUSDtYCVInUD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eFOXXZSyD0SOnT7DzKdT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GYD4p1rELkGV.v6fqgHX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2SPseCy1pEOLiJTHd74B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lFWs93cQdUyGWbExHlBG2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KRjY8GyLEkuagkDS3wIa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vFgmsVBk.TaMSxY2ss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neq9pOOEmA.TDCVbod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ru_fxukqWVVFHvYFG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wau8xKf2j0KXW1qYt3Mw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SWrMmDGEeL2yPnPLee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86OgW830yLLPB4UBFd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AxHP5f.U2KCR1kl8.te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LyhGwYQkqZJ.lOP.Pa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9eWaGtm0q6dX8zp9vB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n_jmP5EOTjroCK0kJ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rsv6oCckikSIphFkv.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W35fdEpk67rK9f9DTqAg"/>
</p:tagLst>
</file>

<file path=ppt/theme/theme1.xml><?xml version="1.0" encoding="utf-8"?>
<a:theme xmlns:a="http://schemas.openxmlformats.org/drawingml/2006/main" name="气-电基础讲义">
  <a:themeElements>
    <a:clrScheme name="2_CUT_VWA_144_03b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EEECE1"/>
      </a:accent1>
      <a:accent2>
        <a:srgbClr val="B3C9E3"/>
      </a:accent2>
      <a:accent3>
        <a:srgbClr val="FFFFFF"/>
      </a:accent3>
      <a:accent4>
        <a:srgbClr val="000000"/>
      </a:accent4>
      <a:accent5>
        <a:srgbClr val="F5F4EE"/>
      </a:accent5>
      <a:accent6>
        <a:srgbClr val="A2B6CE"/>
      </a:accent6>
      <a:hlink>
        <a:srgbClr val="4F81BD"/>
      </a:hlink>
      <a:folHlink>
        <a:srgbClr val="1F497D"/>
      </a:folHlink>
    </a:clrScheme>
    <a:fontScheme name="2_CUT_VWA_144_03b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368300" algn="l"/>
          </a:tabLst>
          <a:defRPr kumimoji="0" lang="zh-CN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368300" algn="l"/>
          </a:tabLst>
          <a:defRPr kumimoji="0" lang="zh-CN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lnDef>
  </a:objectDefaults>
  <a:extraClrSchemeLst>
    <a:extraClrScheme>
      <a:clrScheme name="2_CUT_VWA_144_03b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EEECE1"/>
        </a:accent1>
        <a:accent2>
          <a:srgbClr val="B3C9E3"/>
        </a:accent2>
        <a:accent3>
          <a:srgbClr val="FFFFFF"/>
        </a:accent3>
        <a:accent4>
          <a:srgbClr val="000000"/>
        </a:accent4>
        <a:accent5>
          <a:srgbClr val="F5F4EE"/>
        </a:accent5>
        <a:accent6>
          <a:srgbClr val="A2B6CE"/>
        </a:accent6>
        <a:hlink>
          <a:srgbClr val="4F81BD"/>
        </a:hlink>
        <a:folHlink>
          <a:srgbClr val="1F497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气-电基础讲义</Template>
  <TotalTime>11343</TotalTime>
  <Words>748</Words>
  <Application>Microsoft Office PowerPoint</Application>
  <PresentationFormat>全屏显示(16:9)</PresentationFormat>
  <Paragraphs>114</Paragraphs>
  <Slides>21</Slides>
  <Notes>7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3" baseType="lpstr">
      <vt:lpstr>气-电基础讲义</vt:lpstr>
      <vt:lpstr>think-cell Slide</vt:lpstr>
      <vt:lpstr>助力青教成长，绽放思维火花</vt:lpstr>
      <vt:lpstr>  2018年“仪征技师学院骨干教师能力提升培训班学习”汇报</vt:lpstr>
      <vt:lpstr>    2018年“仪征技师学院骨干教师能力提升培训班学习”汇报</vt:lpstr>
      <vt:lpstr>培训概况</vt:lpstr>
      <vt:lpstr>   历史人物</vt:lpstr>
      <vt:lpstr>   2018年“仪征技师学院骨干教师能力提升培训班学习”汇报</vt:lpstr>
      <vt:lpstr>培训课程</vt:lpstr>
      <vt:lpstr>专家风采</vt:lpstr>
      <vt:lpstr>专家风采</vt:lpstr>
      <vt:lpstr>专家风采</vt:lpstr>
      <vt:lpstr>参观学习</vt:lpstr>
      <vt:lpstr>走进安徽工商职业学院</vt:lpstr>
      <vt:lpstr>走进安徽工商职业学院</vt:lpstr>
      <vt:lpstr> 课堂剪影  </vt:lpstr>
      <vt:lpstr>   2018年“仪征技师学院骨干教师能力提升培训班学习”汇报</vt:lpstr>
      <vt:lpstr>三、培训收获</vt:lpstr>
      <vt:lpstr>幻灯片 17</vt:lpstr>
      <vt:lpstr>幻灯片 18</vt:lpstr>
      <vt:lpstr>幻灯片 19</vt:lpstr>
      <vt:lpstr>幻灯片 20</vt:lpstr>
      <vt:lpstr>幻灯片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气 电 基 础</dc:title>
  <dc:creator>cgf</dc:creator>
  <cp:lastModifiedBy>Administrator</cp:lastModifiedBy>
  <cp:revision>542</cp:revision>
  <cp:lastPrinted>2012-11-14T07:47:17Z</cp:lastPrinted>
  <dcterms:created xsi:type="dcterms:W3CDTF">2012-07-25T04:44:13Z</dcterms:created>
  <dcterms:modified xsi:type="dcterms:W3CDTF">2019-05-24T03:01:27Z</dcterms:modified>
</cp:coreProperties>
</file>